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5"/>
  </p:notesMasterIdLst>
  <p:sldIdLst>
    <p:sldId id="257" r:id="rId5"/>
    <p:sldId id="293" r:id="rId6"/>
    <p:sldId id="258" r:id="rId7"/>
    <p:sldId id="312" r:id="rId8"/>
    <p:sldId id="273" r:id="rId9"/>
    <p:sldId id="297" r:id="rId10"/>
    <p:sldId id="281" r:id="rId11"/>
    <p:sldId id="282" r:id="rId12"/>
    <p:sldId id="302" r:id="rId13"/>
    <p:sldId id="276" r:id="rId14"/>
    <p:sldId id="298" r:id="rId15"/>
    <p:sldId id="299" r:id="rId16"/>
    <p:sldId id="300" r:id="rId17"/>
    <p:sldId id="301" r:id="rId18"/>
    <p:sldId id="303" r:id="rId19"/>
    <p:sldId id="266" r:id="rId20"/>
    <p:sldId id="263" r:id="rId21"/>
    <p:sldId id="264" r:id="rId22"/>
    <p:sldId id="265" r:id="rId23"/>
    <p:sldId id="267" r:id="rId24"/>
    <p:sldId id="286" r:id="rId25"/>
    <p:sldId id="268" r:id="rId26"/>
    <p:sldId id="304" r:id="rId27"/>
    <p:sldId id="296" r:id="rId28"/>
    <p:sldId id="313" r:id="rId29"/>
    <p:sldId id="305" r:id="rId30"/>
    <p:sldId id="306" r:id="rId31"/>
    <p:sldId id="307" r:id="rId32"/>
    <p:sldId id="308" r:id="rId33"/>
    <p:sldId id="309" r:id="rId34"/>
  </p:sldIdLst>
  <p:sldSz cx="9144000" cy="6858000" type="screen4x3"/>
  <p:notesSz cx="666273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sh Hussain" initials="M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328" autoAdjust="0"/>
    <p:restoredTop sz="84082" autoAdjust="0"/>
  </p:normalViewPr>
  <p:slideViewPr>
    <p:cSldViewPr showGuides="1">
      <p:cViewPr varScale="1">
        <p:scale>
          <a:sx n="94" d="100"/>
          <a:sy n="94" d="100"/>
        </p:scale>
        <p:origin x="1500" y="90"/>
      </p:cViewPr>
      <p:guideLst>
        <p:guide orient="horz" pos="2160"/>
        <p:guide pos="2880"/>
      </p:guideLst>
    </p:cSldViewPr>
  </p:slideViewPr>
  <p:outlineViewPr>
    <p:cViewPr>
      <p:scale>
        <a:sx n="33" d="100"/>
        <a:sy n="33" d="100"/>
      </p:scale>
      <p:origin x="0" y="776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plotArea>
    <c:legend>
      <c:legendPos val="r"/>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dLbls>
          <c:showLegendKey val="0"/>
          <c:showVal val="0"/>
          <c:showCatName val="0"/>
          <c:showSerName val="0"/>
          <c:showPercent val="0"/>
          <c:showBubbleSize val="0"/>
          <c:showLeaderLines val="0"/>
        </c:dLbls>
      </c:pie3DChart>
    </c:plotArea>
    <c:legend>
      <c:legendPos val="r"/>
      <c:overlay val="0"/>
    </c:legend>
    <c:plotVisOnly val="1"/>
    <c:dispBlanksAs val="gap"/>
    <c:showDLblsOverMax val="0"/>
  </c:chart>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12.jpg"/></Relationships>
</file>

<file path=ppt/drawings/drawing1.xml><?xml version="1.0" encoding="utf-8"?>
<c:userShapes xmlns:c="http://schemas.openxmlformats.org/drawingml/2006/chart">
  <cdr:relSizeAnchor xmlns:cdr="http://schemas.openxmlformats.org/drawingml/2006/chartDrawing">
    <cdr:from>
      <cdr:x>0.08356</cdr:x>
      <cdr:y>0</cdr:y>
    </cdr:from>
    <cdr:to>
      <cdr:x>0.9526</cdr:x>
      <cdr:y>0.9927</cdr:y>
    </cdr:to>
    <cdr:pic>
      <cdr:nvPicPr>
        <cdr:cNvPr id="2" name="Picture 1"/>
        <cdr:cNvPicPr>
          <a:picLocks xmlns:a="http://schemas.openxmlformats.org/drawingml/2006/main" noChangeAspect="1"/>
        </cdr:cNvPicPr>
      </cdr:nvPicPr>
      <cdr:blipFill rotWithShape="1">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l="3227" t="2288" r="4655" b="22459"/>
        <a:stretch xmlns:a="http://schemas.openxmlformats.org/drawingml/2006/main"/>
      </cdr:blipFill>
      <cdr:spPr>
        <a:xfrm xmlns:a="http://schemas.openxmlformats.org/drawingml/2006/main">
          <a:off x="720080" y="0"/>
          <a:ext cx="7488832" cy="5616624"/>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7186"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4010" y="0"/>
            <a:ext cx="2887186" cy="496332"/>
          </a:xfrm>
          <a:prstGeom prst="rect">
            <a:avLst/>
          </a:prstGeom>
        </p:spPr>
        <p:txBody>
          <a:bodyPr vert="horz" lIns="91440" tIns="45720" rIns="91440" bIns="45720" rtlCol="0"/>
          <a:lstStyle>
            <a:lvl1pPr algn="r">
              <a:defRPr sz="1200"/>
            </a:lvl1pPr>
          </a:lstStyle>
          <a:p>
            <a:fld id="{2AFC25A7-E618-4311-B925-7790078D968D}" type="datetimeFigureOut">
              <a:rPr lang="en-GB" smtClean="0"/>
              <a:t>20/04/2016</a:t>
            </a:fld>
            <a:endParaRPr lang="en-GB"/>
          </a:p>
        </p:txBody>
      </p:sp>
      <p:sp>
        <p:nvSpPr>
          <p:cNvPr id="4" name="Slide Image Placeholder 3"/>
          <p:cNvSpPr>
            <a:spLocks noGrp="1" noRot="1" noChangeAspect="1"/>
          </p:cNvSpPr>
          <p:nvPr>
            <p:ph type="sldImg" idx="2"/>
          </p:nvPr>
        </p:nvSpPr>
        <p:spPr>
          <a:xfrm>
            <a:off x="850900"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274" y="4715153"/>
            <a:ext cx="533019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3"/>
            <a:ext cx="2887186"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4010" y="9428583"/>
            <a:ext cx="2887186" cy="496332"/>
          </a:xfrm>
          <a:prstGeom prst="rect">
            <a:avLst/>
          </a:prstGeom>
        </p:spPr>
        <p:txBody>
          <a:bodyPr vert="horz" lIns="91440" tIns="45720" rIns="91440" bIns="45720" rtlCol="0" anchor="b"/>
          <a:lstStyle>
            <a:lvl1pPr algn="r">
              <a:defRPr sz="1200"/>
            </a:lvl1pPr>
          </a:lstStyle>
          <a:p>
            <a:fld id="{24052294-D049-4EE5-9D3E-9468350D6253}" type="slidenum">
              <a:rPr lang="en-GB" smtClean="0"/>
              <a:t>‹#›</a:t>
            </a:fld>
            <a:endParaRPr lang="en-GB"/>
          </a:p>
        </p:txBody>
      </p:sp>
    </p:spTree>
    <p:extLst>
      <p:ext uri="{BB962C8B-B14F-4D97-AF65-F5344CB8AC3E}">
        <p14:creationId xmlns:p14="http://schemas.microsoft.com/office/powerpoint/2010/main" val="317176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Department for International Development (DFID) leads the UK’s work to end extreme poverty</a:t>
            </a:r>
            <a:endParaRPr lang="en-GB" dirty="0"/>
          </a:p>
        </p:txBody>
      </p:sp>
      <p:sp>
        <p:nvSpPr>
          <p:cNvPr id="4" name="Slide Number Placeholder 3"/>
          <p:cNvSpPr>
            <a:spLocks noGrp="1"/>
          </p:cNvSpPr>
          <p:nvPr>
            <p:ph type="sldNum" sz="quarter" idx="10"/>
          </p:nvPr>
        </p:nvSpPr>
        <p:spPr/>
        <p:txBody>
          <a:bodyPr/>
          <a:lstStyle/>
          <a:p>
            <a:pPr>
              <a:defRPr/>
            </a:pPr>
            <a:fld id="{9F7BCC6E-549C-45BE-A649-450A880528A4}" type="slidenum">
              <a:rPr lang="en-GB" smtClean="0"/>
              <a:pPr>
                <a:defRPr/>
              </a:pPr>
              <a:t>1</a:t>
            </a:fld>
            <a:endParaRPr lang="en-GB" dirty="0"/>
          </a:p>
        </p:txBody>
      </p:sp>
      <p:sp>
        <p:nvSpPr>
          <p:cNvPr id="5" name="Footer Placeholder 4"/>
          <p:cNvSpPr>
            <a:spLocks noGrp="1"/>
          </p:cNvSpPr>
          <p:nvPr>
            <p:ph type="ftr" sz="quarter" idx="11"/>
          </p:nvPr>
        </p:nvSpPr>
        <p:spPr/>
        <p:txBody>
          <a:bodyPr/>
          <a:lstStyle/>
          <a:p>
            <a:pPr>
              <a:defRPr/>
            </a:pPr>
            <a:r>
              <a:rPr lang="en-GB" dirty="0" smtClean="0"/>
              <a:t>Introduction to DFID</a:t>
            </a:r>
            <a:endParaRPr lang="en-GB" dirty="0"/>
          </a:p>
        </p:txBody>
      </p:sp>
    </p:spTree>
    <p:extLst>
      <p:ext uri="{BB962C8B-B14F-4D97-AF65-F5344CB8AC3E}">
        <p14:creationId xmlns:p14="http://schemas.microsoft.com/office/powerpoint/2010/main" val="1764348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smtClean="0"/>
              <a:t>Management team</a:t>
            </a:r>
          </a:p>
          <a:p>
            <a:endParaRPr lang="en-GB" altLang="en-US" smtClean="0"/>
          </a:p>
          <a:p>
            <a:endParaRPr lang="en-GB" altLang="en-US" smtClean="0"/>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DA27BE5-CBCB-4C60-9909-96057C057D45}" type="slidenum">
              <a:rPr lang="en-GB" altLang="en-US" smtClean="0">
                <a:solidFill>
                  <a:srgbClr val="000000"/>
                </a:solidFill>
                <a:latin typeface="Arial" pitchFamily="34" charset="0"/>
                <a:cs typeface="Arial" pitchFamily="34" charset="0"/>
              </a:rPr>
              <a:pPr eaLnBrk="1" hangingPunct="1">
                <a:spcBef>
                  <a:spcPct val="0"/>
                </a:spcBef>
              </a:pPr>
              <a:t>11</a:t>
            </a:fld>
            <a:endParaRPr lang="en-GB" altLang="en-US" smtClean="0">
              <a:solidFill>
                <a:srgbClr val="000000"/>
              </a:solidFill>
              <a:latin typeface="Arial" pitchFamily="34" charset="0"/>
              <a:cs typeface="Arial" pitchFamily="34" charset="0"/>
            </a:endParaRPr>
          </a:p>
        </p:txBody>
      </p:sp>
      <p:sp>
        <p:nvSpPr>
          <p:cNvPr id="75781"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r>
              <a:rPr lang="en-GB" altLang="en-US" smtClean="0">
                <a:latin typeface="Arial" pitchFamily="34" charset="0"/>
                <a:cs typeface="Arial" pitchFamily="34" charset="0"/>
              </a:rPr>
              <a:t>Introduction to DFID</a:t>
            </a:r>
          </a:p>
        </p:txBody>
      </p:sp>
    </p:spTree>
    <p:extLst>
      <p:ext uri="{BB962C8B-B14F-4D97-AF65-F5344CB8AC3E}">
        <p14:creationId xmlns:p14="http://schemas.microsoft.com/office/powerpoint/2010/main" val="2708434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en-US" dirty="0" smtClean="0"/>
              <a:t>Justine Greening, “Britain won't stand on the </a:t>
            </a:r>
            <a:r>
              <a:rPr lang="en-GB" altLang="en-US" dirty="0" err="1" smtClean="0"/>
              <a:t>sidelines</a:t>
            </a:r>
            <a:r>
              <a:rPr lang="en-GB" altLang="en-US" dirty="0" smtClean="0"/>
              <a:t>. We are striving for the world we want. “</a:t>
            </a:r>
          </a:p>
          <a:p>
            <a:endParaRPr lang="en-GB" altLang="en-US" dirty="0" smtClean="0"/>
          </a:p>
          <a:p>
            <a:r>
              <a:rPr lang="en-GB" altLang="en-US" dirty="0" smtClean="0"/>
              <a:t>-Morally the right thing to do</a:t>
            </a:r>
          </a:p>
          <a:p>
            <a:r>
              <a:rPr lang="en-GB" altLang="en-US" dirty="0" smtClean="0"/>
              <a:t>-Socially develop our world </a:t>
            </a:r>
          </a:p>
          <a:p>
            <a:endParaRPr lang="en-GB" altLang="en-US" dirty="0" smtClean="0"/>
          </a:p>
          <a:p>
            <a:pPr eaLnBrk="1" hangingPunct="1">
              <a:spcBef>
                <a:spcPct val="0"/>
              </a:spcBef>
            </a:pPr>
            <a:r>
              <a:rPr lang="en-GB" altLang="en-US" dirty="0" smtClean="0"/>
              <a:t>Aid is in our national interest</a:t>
            </a:r>
          </a:p>
          <a:p>
            <a:pPr eaLnBrk="1" hangingPunct="1">
              <a:spcBef>
                <a:spcPct val="0"/>
              </a:spcBef>
            </a:pPr>
            <a:r>
              <a:rPr lang="en-GB" altLang="en-US" dirty="0" smtClean="0">
                <a:solidFill>
                  <a:srgbClr val="FFFFFF"/>
                </a:solidFill>
                <a:latin typeface="Arial" pitchFamily="34" charset="0"/>
                <a:ea typeface="Times New Roman" pitchFamily="18" charset="0"/>
                <a:cs typeface="Arial" pitchFamily="34" charset="0"/>
              </a:rPr>
              <a:t>year, 6 out of the 15 fastest growing economies were in Africa. </a:t>
            </a:r>
          </a:p>
          <a:p>
            <a:pPr eaLnBrk="1" hangingPunct="1">
              <a:spcBef>
                <a:spcPct val="0"/>
              </a:spcBef>
            </a:pPr>
            <a:r>
              <a:rPr lang="en-GB" altLang="en-US" dirty="0" smtClean="0">
                <a:solidFill>
                  <a:srgbClr val="FFFFFF"/>
                </a:solidFill>
                <a:latin typeface="Arial" pitchFamily="34" charset="0"/>
                <a:cs typeface="Arial" pitchFamily="34" charset="0"/>
              </a:rPr>
              <a:t>-</a:t>
            </a:r>
            <a:r>
              <a:rPr lang="en-GB" altLang="en-US" dirty="0" smtClean="0"/>
              <a:t>“Investment in international development is also in our national interest. Trade between nations creates growth, jobs and prosperity for both countries and people – ending aid dependency and creating the UK export markets of the future. "Every time Britain has been at its most successful, it’s been when we’ve been out in the world, trading, doing business, and shaping the world we want. Our country has never stood on the side-lines, and we can’t afford to start now.”</a:t>
            </a:r>
          </a:p>
          <a:p>
            <a:pPr eaLnBrk="1" hangingPunct="1">
              <a:spcBef>
                <a:spcPct val="0"/>
              </a:spcBef>
            </a:pPr>
            <a:endParaRPr lang="en-GB" altLang="en-US" dirty="0" smtClean="0"/>
          </a:p>
          <a:p>
            <a:r>
              <a:rPr lang="en-GB" altLang="en-US" dirty="0" smtClean="0"/>
              <a:t>Domestic economic pressures place a special focus on DFID activities</a:t>
            </a:r>
          </a:p>
          <a:p>
            <a:r>
              <a:rPr lang="en-GB" altLang="en-US" dirty="0" smtClean="0"/>
              <a:t>We have to perform at an exemplary level,</a:t>
            </a:r>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41DA3EF-29E6-450C-A450-AC82E7CAE492}" type="slidenum">
              <a:rPr lang="en-GB" altLang="en-US" smtClean="0">
                <a:solidFill>
                  <a:srgbClr val="000000"/>
                </a:solidFill>
                <a:latin typeface="Arial" pitchFamily="34" charset="0"/>
                <a:cs typeface="Arial" pitchFamily="34" charset="0"/>
              </a:rPr>
              <a:pPr eaLnBrk="1" hangingPunct="1">
                <a:spcBef>
                  <a:spcPct val="0"/>
                </a:spcBef>
              </a:pPr>
              <a:t>12</a:t>
            </a:fld>
            <a:endParaRPr lang="en-GB" altLang="en-US" smtClean="0">
              <a:solidFill>
                <a:srgbClr val="000000"/>
              </a:solidFill>
              <a:latin typeface="Arial" pitchFamily="34" charset="0"/>
              <a:cs typeface="Arial" pitchFamily="34" charset="0"/>
            </a:endParaRPr>
          </a:p>
        </p:txBody>
      </p:sp>
      <p:sp>
        <p:nvSpPr>
          <p:cNvPr id="78853"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r>
              <a:rPr lang="en-GB" altLang="en-US" smtClean="0">
                <a:latin typeface="Arial" pitchFamily="34" charset="0"/>
                <a:cs typeface="Arial" pitchFamily="34" charset="0"/>
              </a:rPr>
              <a:t>Introduction to DFID</a:t>
            </a:r>
          </a:p>
        </p:txBody>
      </p:sp>
    </p:spTree>
    <p:extLst>
      <p:ext uri="{BB962C8B-B14F-4D97-AF65-F5344CB8AC3E}">
        <p14:creationId xmlns:p14="http://schemas.microsoft.com/office/powerpoint/2010/main" val="1350493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41DA3EF-29E6-450C-A450-AC82E7CAE492}" type="slidenum">
              <a:rPr lang="en-GB" altLang="en-US" smtClean="0">
                <a:solidFill>
                  <a:srgbClr val="000000"/>
                </a:solidFill>
                <a:latin typeface="Arial" pitchFamily="34" charset="0"/>
                <a:cs typeface="Arial" pitchFamily="34" charset="0"/>
              </a:rPr>
              <a:pPr eaLnBrk="1" hangingPunct="1">
                <a:spcBef>
                  <a:spcPct val="0"/>
                </a:spcBef>
              </a:pPr>
              <a:t>13</a:t>
            </a:fld>
            <a:endParaRPr lang="en-GB" altLang="en-US" smtClean="0">
              <a:solidFill>
                <a:srgbClr val="000000"/>
              </a:solidFill>
              <a:latin typeface="Arial" pitchFamily="34" charset="0"/>
              <a:cs typeface="Arial" pitchFamily="34" charset="0"/>
            </a:endParaRPr>
          </a:p>
        </p:txBody>
      </p:sp>
      <p:sp>
        <p:nvSpPr>
          <p:cNvPr id="78853"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r>
              <a:rPr lang="en-GB" altLang="en-US" smtClean="0">
                <a:latin typeface="Arial" pitchFamily="34" charset="0"/>
                <a:cs typeface="Arial" pitchFamily="34" charset="0"/>
              </a:rPr>
              <a:t>Introduction to DFID</a:t>
            </a:r>
          </a:p>
        </p:txBody>
      </p:sp>
    </p:spTree>
    <p:extLst>
      <p:ext uri="{BB962C8B-B14F-4D97-AF65-F5344CB8AC3E}">
        <p14:creationId xmlns:p14="http://schemas.microsoft.com/office/powerpoint/2010/main" val="124663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14</a:t>
            </a:fld>
            <a:endParaRPr lang="en-GB"/>
          </a:p>
        </p:txBody>
      </p:sp>
    </p:spTree>
    <p:extLst>
      <p:ext uri="{BB962C8B-B14F-4D97-AF65-F5344CB8AC3E}">
        <p14:creationId xmlns:p14="http://schemas.microsoft.com/office/powerpoint/2010/main" val="4467729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chievements</a:t>
            </a:r>
            <a:r>
              <a:rPr lang="en-GB" baseline="0" dirty="0" smtClean="0"/>
              <a:t> by 2014-15 – towards its commitments for 2011-15 as set out in DFID results framework</a:t>
            </a:r>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15</a:t>
            </a:fld>
            <a:endParaRPr lang="en-GB"/>
          </a:p>
        </p:txBody>
      </p:sp>
    </p:spTree>
    <p:extLst>
      <p:ext uri="{BB962C8B-B14F-4D97-AF65-F5344CB8AC3E}">
        <p14:creationId xmlns:p14="http://schemas.microsoft.com/office/powerpoint/2010/main" val="446772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In Kenya - over a 20 year period - every $1 spent on disaster resilience resulted in $2.90 saved in the form of reduced humanitarian spend, avoided losses and development gains</a:t>
            </a:r>
          </a:p>
          <a:p>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16</a:t>
            </a:fld>
            <a:endParaRPr lang="en-GB"/>
          </a:p>
        </p:txBody>
      </p:sp>
    </p:spTree>
    <p:extLst>
      <p:ext uri="{BB962C8B-B14F-4D97-AF65-F5344CB8AC3E}">
        <p14:creationId xmlns:p14="http://schemas.microsoft.com/office/powerpoint/2010/main" val="2196030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4052294-D049-4EE5-9D3E-9468350D6253}" type="slidenum">
              <a:rPr lang="en-GB" smtClean="0"/>
              <a:t>17</a:t>
            </a:fld>
            <a:endParaRPr lang="en-GB"/>
          </a:p>
        </p:txBody>
      </p:sp>
    </p:spTree>
    <p:extLst>
      <p:ext uri="{BB962C8B-B14F-4D97-AF65-F5344CB8AC3E}">
        <p14:creationId xmlns:p14="http://schemas.microsoft.com/office/powerpoint/2010/main" val="1331220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F7BCC6E-549C-45BE-A649-450A880528A4}" type="slidenum">
              <a:rPr lang="en-GB" smtClean="0"/>
              <a:pPr>
                <a:defRPr/>
              </a:pPr>
              <a:t>18</a:t>
            </a:fld>
            <a:endParaRPr lang="en-GB"/>
          </a:p>
        </p:txBody>
      </p:sp>
      <p:sp>
        <p:nvSpPr>
          <p:cNvPr id="5" name="Footer Placeholder 4"/>
          <p:cNvSpPr>
            <a:spLocks noGrp="1"/>
          </p:cNvSpPr>
          <p:nvPr>
            <p:ph type="ftr" sz="quarter" idx="11"/>
          </p:nvPr>
        </p:nvSpPr>
        <p:spPr/>
        <p:txBody>
          <a:bodyPr/>
          <a:lstStyle/>
          <a:p>
            <a:pPr>
              <a:defRPr/>
            </a:pPr>
            <a:r>
              <a:rPr lang="en-GB" smtClean="0"/>
              <a:t>Introduction to DFID</a:t>
            </a:r>
            <a:endParaRPr lang="en-GB"/>
          </a:p>
        </p:txBody>
      </p:sp>
    </p:spTree>
    <p:extLst>
      <p:ext uri="{BB962C8B-B14F-4D97-AF65-F5344CB8AC3E}">
        <p14:creationId xmlns:p14="http://schemas.microsoft.com/office/powerpoint/2010/main" val="2774151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4052294-D049-4EE5-9D3E-9468350D6253}" type="slidenum">
              <a:rPr lang="en-GB" smtClean="0"/>
              <a:t>19</a:t>
            </a:fld>
            <a:endParaRPr lang="en-GB"/>
          </a:p>
        </p:txBody>
      </p:sp>
    </p:spTree>
    <p:extLst>
      <p:ext uri="{BB962C8B-B14F-4D97-AF65-F5344CB8AC3E}">
        <p14:creationId xmlns:p14="http://schemas.microsoft.com/office/powerpoint/2010/main" val="1342695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y</a:t>
            </a:r>
            <a:r>
              <a:rPr lang="en-GB" baseline="0" dirty="0" smtClean="0"/>
              <a:t> Does the UK give international Aid?</a:t>
            </a:r>
            <a:endParaRPr lang="en-GB" dirty="0"/>
          </a:p>
        </p:txBody>
      </p:sp>
      <p:sp>
        <p:nvSpPr>
          <p:cNvPr id="4" name="Slide Number Placeholder 3"/>
          <p:cNvSpPr>
            <a:spLocks noGrp="1"/>
          </p:cNvSpPr>
          <p:nvPr>
            <p:ph type="sldNum" sz="quarter" idx="10"/>
          </p:nvPr>
        </p:nvSpPr>
        <p:spPr/>
        <p:txBody>
          <a:bodyPr/>
          <a:lstStyle/>
          <a:p>
            <a:pPr>
              <a:defRPr/>
            </a:pPr>
            <a:fld id="{9F7BCC6E-549C-45BE-A649-450A880528A4}" type="slidenum">
              <a:rPr lang="en-GB" smtClean="0">
                <a:solidFill>
                  <a:prstClr val="black"/>
                </a:solidFill>
              </a:rPr>
              <a:pPr>
                <a:defRPr/>
              </a:pPr>
              <a:t>20</a:t>
            </a:fld>
            <a:endParaRPr lang="en-GB">
              <a:solidFill>
                <a:prstClr val="black"/>
              </a:solidFill>
            </a:endParaRPr>
          </a:p>
        </p:txBody>
      </p:sp>
      <p:sp>
        <p:nvSpPr>
          <p:cNvPr id="5" name="Footer Placeholder 4"/>
          <p:cNvSpPr>
            <a:spLocks noGrp="1"/>
          </p:cNvSpPr>
          <p:nvPr>
            <p:ph type="ftr" sz="quarter" idx="11"/>
          </p:nvPr>
        </p:nvSpPr>
        <p:spPr/>
        <p:txBody>
          <a:bodyPr/>
          <a:lstStyle/>
          <a:p>
            <a:pPr>
              <a:defRPr/>
            </a:pPr>
            <a:r>
              <a:rPr lang="en-GB" smtClean="0"/>
              <a:t>Introduction to DFID</a:t>
            </a:r>
            <a:endParaRPr lang="en-GB"/>
          </a:p>
        </p:txBody>
      </p:sp>
    </p:spTree>
    <p:extLst>
      <p:ext uri="{BB962C8B-B14F-4D97-AF65-F5344CB8AC3E}">
        <p14:creationId xmlns:p14="http://schemas.microsoft.com/office/powerpoint/2010/main" val="2397122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4052294-D049-4EE5-9D3E-9468350D6253}" type="slidenum">
              <a:rPr lang="en-GB" smtClean="0"/>
              <a:t>2</a:t>
            </a:fld>
            <a:endParaRPr lang="en-GB"/>
          </a:p>
        </p:txBody>
      </p:sp>
    </p:spTree>
    <p:extLst>
      <p:ext uri="{BB962C8B-B14F-4D97-AF65-F5344CB8AC3E}">
        <p14:creationId xmlns:p14="http://schemas.microsoft.com/office/powerpoint/2010/main" val="2581554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lvl1pPr defTabSz="912813" eaLnBrk="0" hangingPunct="0">
              <a:defRPr sz="2000">
                <a:solidFill>
                  <a:schemeClr val="tx1"/>
                </a:solidFill>
                <a:latin typeface="Verdana" pitchFamily="34" charset="0"/>
                <a:cs typeface="Arial" charset="0"/>
              </a:defRPr>
            </a:lvl1pPr>
            <a:lvl2pPr marL="742950" indent="-285750" defTabSz="912813" eaLnBrk="0" hangingPunct="0">
              <a:defRPr sz="2000">
                <a:solidFill>
                  <a:schemeClr val="tx1"/>
                </a:solidFill>
                <a:latin typeface="Verdana" pitchFamily="34" charset="0"/>
                <a:cs typeface="Arial" charset="0"/>
              </a:defRPr>
            </a:lvl2pPr>
            <a:lvl3pPr marL="1143000" indent="-228600" defTabSz="912813" eaLnBrk="0" hangingPunct="0">
              <a:defRPr sz="2000">
                <a:solidFill>
                  <a:schemeClr val="tx1"/>
                </a:solidFill>
                <a:latin typeface="Verdana" pitchFamily="34" charset="0"/>
                <a:cs typeface="Arial" charset="0"/>
              </a:defRPr>
            </a:lvl3pPr>
            <a:lvl4pPr marL="1600200" indent="-228600" defTabSz="912813" eaLnBrk="0" hangingPunct="0">
              <a:defRPr sz="2000">
                <a:solidFill>
                  <a:schemeClr val="tx1"/>
                </a:solidFill>
                <a:latin typeface="Verdana" pitchFamily="34" charset="0"/>
                <a:cs typeface="Arial" charset="0"/>
              </a:defRPr>
            </a:lvl4pPr>
            <a:lvl5pPr marL="2057400" indent="-228600" defTabSz="912813" eaLnBrk="0" hangingPunct="0">
              <a:defRPr sz="2000">
                <a:solidFill>
                  <a:schemeClr val="tx1"/>
                </a:solidFill>
                <a:latin typeface="Verdana" pitchFamily="34" charset="0"/>
                <a:cs typeface="Arial" charset="0"/>
              </a:defRPr>
            </a:lvl5pPr>
            <a:lvl6pPr marL="2514600" indent="-228600" defTabSz="912813" eaLnBrk="0" fontAlgn="base" hangingPunct="0">
              <a:lnSpc>
                <a:spcPct val="80000"/>
              </a:lnSpc>
              <a:spcBef>
                <a:spcPct val="20000"/>
              </a:spcBef>
              <a:spcAft>
                <a:spcPct val="0"/>
              </a:spcAft>
              <a:buClr>
                <a:srgbClr val="006699"/>
              </a:buClr>
              <a:buSzPct val="90000"/>
              <a:buChar char="•"/>
              <a:defRPr sz="2000">
                <a:solidFill>
                  <a:schemeClr val="tx1"/>
                </a:solidFill>
                <a:latin typeface="Verdana" pitchFamily="34" charset="0"/>
                <a:cs typeface="Arial" charset="0"/>
              </a:defRPr>
            </a:lvl6pPr>
            <a:lvl7pPr marL="2971800" indent="-228600" defTabSz="912813" eaLnBrk="0" fontAlgn="base" hangingPunct="0">
              <a:lnSpc>
                <a:spcPct val="80000"/>
              </a:lnSpc>
              <a:spcBef>
                <a:spcPct val="20000"/>
              </a:spcBef>
              <a:spcAft>
                <a:spcPct val="0"/>
              </a:spcAft>
              <a:buClr>
                <a:srgbClr val="006699"/>
              </a:buClr>
              <a:buSzPct val="90000"/>
              <a:buChar char="•"/>
              <a:defRPr sz="2000">
                <a:solidFill>
                  <a:schemeClr val="tx1"/>
                </a:solidFill>
                <a:latin typeface="Verdana" pitchFamily="34" charset="0"/>
                <a:cs typeface="Arial" charset="0"/>
              </a:defRPr>
            </a:lvl7pPr>
            <a:lvl8pPr marL="3429000" indent="-228600" defTabSz="912813" eaLnBrk="0" fontAlgn="base" hangingPunct="0">
              <a:lnSpc>
                <a:spcPct val="80000"/>
              </a:lnSpc>
              <a:spcBef>
                <a:spcPct val="20000"/>
              </a:spcBef>
              <a:spcAft>
                <a:spcPct val="0"/>
              </a:spcAft>
              <a:buClr>
                <a:srgbClr val="006699"/>
              </a:buClr>
              <a:buSzPct val="90000"/>
              <a:buChar char="•"/>
              <a:defRPr sz="2000">
                <a:solidFill>
                  <a:schemeClr val="tx1"/>
                </a:solidFill>
                <a:latin typeface="Verdana" pitchFamily="34" charset="0"/>
                <a:cs typeface="Arial" charset="0"/>
              </a:defRPr>
            </a:lvl8pPr>
            <a:lvl9pPr marL="3886200" indent="-228600" defTabSz="912813" eaLnBrk="0" fontAlgn="base" hangingPunct="0">
              <a:lnSpc>
                <a:spcPct val="80000"/>
              </a:lnSpc>
              <a:spcBef>
                <a:spcPct val="20000"/>
              </a:spcBef>
              <a:spcAft>
                <a:spcPct val="0"/>
              </a:spcAft>
              <a:buClr>
                <a:srgbClr val="006699"/>
              </a:buClr>
              <a:buSzPct val="90000"/>
              <a:buChar char="•"/>
              <a:defRPr sz="2000">
                <a:solidFill>
                  <a:schemeClr val="tx1"/>
                </a:solidFill>
                <a:latin typeface="Verdana" pitchFamily="34" charset="0"/>
                <a:cs typeface="Arial" charset="0"/>
              </a:defRPr>
            </a:lvl9pPr>
          </a:lstStyle>
          <a:p>
            <a:pPr eaLnBrk="1" hangingPunct="1"/>
            <a:fld id="{EC741E6D-C504-479A-8BDE-6C862ABC698C}" type="slidenum">
              <a:rPr lang="en-GB" sz="1200" smtClean="0">
                <a:latin typeface="Arial" charset="0"/>
              </a:rPr>
              <a:pPr eaLnBrk="1" hangingPunct="1"/>
              <a:t>21</a:t>
            </a:fld>
            <a:endParaRPr lang="en-GB" sz="1200" smtClean="0">
              <a:latin typeface="Arial" charset="0"/>
            </a:endParaRPr>
          </a:p>
        </p:txBody>
      </p:sp>
      <p:sp>
        <p:nvSpPr>
          <p:cNvPr id="28675" name="Rectangle 2"/>
          <p:cNvSpPr>
            <a:spLocks noGrp="1" noRot="1" noChangeAspect="1" noChangeArrowheads="1" noTextEdit="1"/>
          </p:cNvSpPr>
          <p:nvPr>
            <p:ph type="sldImg"/>
          </p:nvPr>
        </p:nvSpPr>
        <p:spPr>
          <a:xfrm>
            <a:off x="850900" y="744538"/>
            <a:ext cx="4962525" cy="3722687"/>
          </a:xfrm>
          <a:ln/>
        </p:spPr>
      </p:sp>
      <p:sp>
        <p:nvSpPr>
          <p:cNvPr id="29700" name="Rectangle 3"/>
          <p:cNvSpPr>
            <a:spLocks noGrp="1" noChangeArrowheads="1"/>
          </p:cNvSpPr>
          <p:nvPr>
            <p:ph type="body" idx="1"/>
          </p:nvPr>
        </p:nvSpPr>
        <p:spPr>
          <a:xfrm>
            <a:off x="666274" y="4715153"/>
            <a:ext cx="5330190" cy="4466987"/>
          </a:xfrm>
        </p:spPr>
        <p:txBody>
          <a:bodyPr/>
          <a:lstStyle/>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sz="900" b="1" kern="1200" baseline="0" dirty="0" smtClean="0">
                <a:latin typeface="Arial" charset="0"/>
              </a:rPr>
              <a:t>Human cost of conflict</a:t>
            </a:r>
            <a:r>
              <a:rPr lang="en-GB" sz="900" kern="1200" baseline="0" dirty="0" smtClean="0">
                <a:latin typeface="Arial" charset="0"/>
              </a:rPr>
              <a:t>: </a:t>
            </a:r>
            <a:endParaRPr lang="en-GB" sz="900" kern="1200" dirty="0" smtClean="0">
              <a:latin typeface="Arial" charset="0"/>
            </a:endParaRPr>
          </a:p>
          <a:p>
            <a:pPr marL="342900" indent="-342900" algn="l">
              <a:buFont typeface="Arial" panose="020B0604020202020204" pitchFamily="34" charset="0"/>
              <a:buChar char="•"/>
            </a:pPr>
            <a:r>
              <a:rPr lang="en-GB" sz="900" kern="1200" dirty="0" smtClean="0">
                <a:latin typeface="Arial" charset="0"/>
              </a:rPr>
              <a:t>People in conflict: twice as likely to be undernourished, 50% more likely to be impoverished; three times as likely to be out of school.</a:t>
            </a:r>
          </a:p>
          <a:p>
            <a:pPr marL="342900" indent="-342900" algn="l">
              <a:buFont typeface="Arial" panose="020B0604020202020204" pitchFamily="34" charset="0"/>
              <a:buChar char="•"/>
            </a:pPr>
            <a:r>
              <a:rPr lang="en-GB" sz="900" kern="1200" dirty="0" smtClean="0">
                <a:latin typeface="Arial" charset="0"/>
              </a:rPr>
              <a:t>Women and girls often worst affecte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900" kern="1200" dirty="0" smtClean="0">
              <a:latin typeface="Arial"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sz="900" b="1" kern="1200" dirty="0" smtClean="0">
                <a:latin typeface="Arial" charset="0"/>
              </a:rPr>
              <a:t>Impact on poverty:</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900" kern="1200" dirty="0" smtClean="0">
                <a:latin typeface="Arial" charset="0"/>
              </a:rPr>
              <a:t>Average cost of civil war = 30 years’ economic growth.</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900" kern="1200" dirty="0" smtClean="0">
                <a:latin typeface="Arial" charset="0"/>
              </a:rPr>
              <a:t>Average of 14 years for post-conflict country to return to previous growth path and 20 years to previous trade levels </a:t>
            </a:r>
          </a:p>
          <a:p>
            <a:pPr marL="171450" marR="0" lvl="1" indent="-171450" algn="l" defTabSz="914400" rtl="0" eaLnBrk="1" fontAlgn="base" latinLnBrk="0" hangingPunct="1">
              <a:lnSpc>
                <a:spcPct val="100000"/>
              </a:lnSpc>
              <a:spcBef>
                <a:spcPct val="30000"/>
              </a:spcBef>
              <a:spcAft>
                <a:spcPct val="0"/>
              </a:spcAft>
              <a:buClrTx/>
              <a:buSzTx/>
              <a:buFont typeface="Arial" pitchFamily="34" charset="0"/>
              <a:buChar char="•"/>
              <a:tabLst/>
              <a:defRPr/>
            </a:pPr>
            <a:endParaRPr lang="en-GB" sz="900" baseline="0" dirty="0" smtClean="0"/>
          </a:p>
          <a:p>
            <a:pPr marL="171450" marR="0" lvl="1" indent="-171450" algn="l" defTabSz="914400" rtl="0" eaLnBrk="1" fontAlgn="base" latinLnBrk="0" hangingPunct="1">
              <a:lnSpc>
                <a:spcPct val="100000"/>
              </a:lnSpc>
              <a:spcBef>
                <a:spcPct val="30000"/>
              </a:spcBef>
              <a:spcAft>
                <a:spcPct val="0"/>
              </a:spcAft>
              <a:buClrTx/>
              <a:buSzTx/>
              <a:buFont typeface="Arial" pitchFamily="34" charset="0"/>
              <a:buChar char="•"/>
              <a:tabLst/>
              <a:defRPr/>
            </a:pPr>
            <a:endParaRPr lang="en-GB" sz="900" baseline="0" dirty="0" smtClean="0"/>
          </a:p>
          <a:p>
            <a:pPr marL="171450" marR="0" lvl="1" indent="-17145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GB" sz="900" baseline="0" dirty="0" smtClean="0"/>
              <a:t>Far most cost-effective to invest in conflict-prevention then to respond once conflict has broken out (£1/£4)</a:t>
            </a:r>
          </a:p>
          <a:p>
            <a:pPr eaLnBrk="1" hangingPunct="1">
              <a:defRPr/>
            </a:pPr>
            <a:endParaRPr lang="en-GB" sz="900" dirty="0" smtClean="0"/>
          </a:p>
          <a:p>
            <a:pPr marL="171450" indent="-171450" eaLnBrk="1" hangingPunct="1">
              <a:buFont typeface="Arial" pitchFamily="34" charset="0"/>
              <a:buChar char="•"/>
            </a:pPr>
            <a:r>
              <a:rPr lang="en-GB" sz="900" dirty="0" smtClean="0"/>
              <a:t>DFID is scaling up its work in fragile and conflict-affected states:</a:t>
            </a:r>
          </a:p>
          <a:p>
            <a:pPr marL="628650" lvl="1" indent="-171450" eaLnBrk="1" hangingPunct="1">
              <a:buFont typeface="Arial" pitchFamily="34" charset="0"/>
              <a:buChar char="–"/>
            </a:pPr>
            <a:r>
              <a:rPr lang="en-GB" sz="900" dirty="0" smtClean="0"/>
              <a:t>Geographically – 21 out of 28 priority countries are fragile or conflict-affected states</a:t>
            </a:r>
          </a:p>
          <a:p>
            <a:pPr marL="628650" lvl="1" indent="-171450" eaLnBrk="1" hangingPunct="1">
              <a:buFont typeface="Arial" pitchFamily="34" charset="0"/>
              <a:buChar char="–"/>
            </a:pPr>
            <a:r>
              <a:rPr lang="en-GB" sz="900" dirty="0" smtClean="0"/>
              <a:t>Financially – we have committed to spend 30% of ODA in these environments.</a:t>
            </a:r>
          </a:p>
          <a:p>
            <a:pPr marL="628650" lvl="1" indent="-171450" eaLnBrk="1" hangingPunct="1">
              <a:buFont typeface="Arial" pitchFamily="34" charset="0"/>
              <a:buChar char="–"/>
            </a:pPr>
            <a:r>
              <a:rPr lang="en-GB" sz="900" dirty="0" smtClean="0"/>
              <a:t>This focus will allow us to deliver results that will reduce conflict and help build stability overseas. For example, we will:</a:t>
            </a:r>
          </a:p>
          <a:p>
            <a:pPr eaLnBrk="1" hangingPunct="1"/>
            <a:r>
              <a:rPr lang="en-GB" sz="900" dirty="0" smtClean="0"/>
              <a:t>	- Support freer and fairer elections in 13 countries with more than 300 million voters</a:t>
            </a:r>
          </a:p>
          <a:p>
            <a:pPr eaLnBrk="1" hangingPunct="1"/>
            <a:r>
              <a:rPr lang="en-GB" sz="900" dirty="0" smtClean="0"/>
              <a:t>	- Help 10 million women to access justice through the courts, police and legal assistance</a:t>
            </a:r>
          </a:p>
          <a:p>
            <a:pPr eaLnBrk="1" hangingPunct="1"/>
            <a:r>
              <a:rPr lang="en-GB" sz="900" dirty="0" smtClean="0"/>
              <a:t>	- Support 40 million people to hold authorities to account</a:t>
            </a:r>
          </a:p>
          <a:p>
            <a:pPr eaLnBrk="1" hangingPunct="1">
              <a:defRPr/>
            </a:pPr>
            <a:endParaRPr lang="en-GB" sz="900" dirty="0" smtClean="0"/>
          </a:p>
        </p:txBody>
      </p:sp>
    </p:spTree>
    <p:extLst>
      <p:ext uri="{BB962C8B-B14F-4D97-AF65-F5344CB8AC3E}">
        <p14:creationId xmlns:p14="http://schemas.microsoft.com/office/powerpoint/2010/main" val="28893840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Justine Greening, “</a:t>
            </a:r>
            <a:r>
              <a:rPr lang="en-GB" sz="1200" dirty="0" smtClean="0"/>
              <a:t>Britain won't stand on the </a:t>
            </a:r>
            <a:r>
              <a:rPr lang="en-GB" sz="1200" dirty="0" err="1" smtClean="0"/>
              <a:t>sidelines</a:t>
            </a:r>
            <a:r>
              <a:rPr lang="en-GB" sz="1200" dirty="0" smtClean="0"/>
              <a:t>. We are striving for the world we want. “</a:t>
            </a:r>
          </a:p>
          <a:p>
            <a:endParaRPr lang="en-GB" dirty="0" smtClean="0"/>
          </a:p>
          <a:p>
            <a:r>
              <a:rPr lang="en-GB" dirty="0" smtClean="0"/>
              <a:t>-Morally</a:t>
            </a:r>
            <a:r>
              <a:rPr lang="en-GB" baseline="0" dirty="0" smtClean="0"/>
              <a:t> the right thing to do</a:t>
            </a:r>
          </a:p>
          <a:p>
            <a:r>
              <a:rPr lang="en-GB" baseline="0" dirty="0" smtClean="0"/>
              <a:t>-Socially develop our world </a:t>
            </a:r>
          </a:p>
          <a:p>
            <a:endParaRPr lang="en-GB"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id is in our national interest</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FAQ-</a:t>
            </a:r>
            <a:r>
              <a:rPr lang="en-GB" sz="1200" b="0" dirty="0" smtClean="0">
                <a:solidFill>
                  <a:prstClr val="white"/>
                </a:solidFill>
                <a:latin typeface="Arial"/>
                <a:ea typeface="Times New Roman"/>
                <a:cs typeface="Arial"/>
              </a:rPr>
              <a:t>Last year, 6 out of the 15 fastest growing economies were in Africa.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kern="1200" dirty="0" smtClean="0">
                <a:solidFill>
                  <a:prstClr val="white"/>
                </a:solidFill>
                <a:effectLst/>
                <a:latin typeface="Arial"/>
                <a:ea typeface="+mn-ea"/>
                <a:cs typeface="Arial"/>
              </a:rPr>
              <a:t>-</a:t>
            </a:r>
            <a:r>
              <a:rPr lang="en-GB" sz="1200" kern="1200" dirty="0" smtClean="0">
                <a:solidFill>
                  <a:schemeClr val="tx1"/>
                </a:solidFill>
                <a:effectLst/>
                <a:latin typeface="+mn-lt"/>
                <a:ea typeface="+mn-ea"/>
                <a:cs typeface="+mn-cs"/>
              </a:rPr>
              <a:t>“Investment in international development is also in our national interest. Trade between nations creates growth, jobs and prosperity for both countries and people – ending aid dependency and creating the UK export markets of the future. "Every time Britain has been at its most successful, it’s been when we’ve been out in the world, trading, doing business, and shaping the world we want. Our country has never stood on the side-lines, and we can’t afford to start now.”</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We are</a:t>
            </a:r>
            <a:r>
              <a:rPr lang="en-GB" sz="1200" kern="1200" baseline="0" dirty="0" smtClean="0">
                <a:solidFill>
                  <a:schemeClr val="tx1"/>
                </a:solidFill>
                <a:effectLst/>
                <a:latin typeface="+mn-lt"/>
                <a:ea typeface="+mn-ea"/>
                <a:cs typeface="+mn-cs"/>
              </a:rPr>
              <a:t> an open economy:</a:t>
            </a:r>
          </a:p>
          <a:p>
            <a:r>
              <a:rPr lang="en-GB" sz="1200" kern="1200" baseline="0" dirty="0" smtClean="0">
                <a:solidFill>
                  <a:schemeClr val="tx1"/>
                </a:solidFill>
                <a:effectLst/>
                <a:latin typeface="+mn-lt"/>
                <a:ea typeface="+mn-ea"/>
                <a:cs typeface="+mn-cs"/>
              </a:rPr>
              <a:t>-</a:t>
            </a:r>
            <a:r>
              <a:rPr lang="en-GB" dirty="0" smtClean="0">
                <a:latin typeface="Calibri" pitchFamily="34" charset="0"/>
                <a:cs typeface="Calibri" pitchFamily="34" charset="0"/>
              </a:rPr>
              <a:t>UK is an open economy and open society so must address problems that can affect us too</a:t>
            </a:r>
          </a:p>
          <a:p>
            <a:pPr lvl="1"/>
            <a:r>
              <a:rPr lang="en-GB" sz="2200" dirty="0" smtClean="0">
                <a:latin typeface="Calibri" pitchFamily="34" charset="0"/>
                <a:cs typeface="Calibri" pitchFamily="34" charset="0"/>
              </a:rPr>
              <a:t>Communicable diseases, threat of pandemics</a:t>
            </a:r>
          </a:p>
          <a:p>
            <a:pPr lvl="1"/>
            <a:r>
              <a:rPr lang="en-GB" sz="2200" dirty="0" smtClean="0">
                <a:latin typeface="Calibri" pitchFamily="34" charset="0"/>
                <a:cs typeface="Calibri" pitchFamily="34" charset="0"/>
              </a:rPr>
              <a:t>Security, asylum and migration</a:t>
            </a:r>
          </a:p>
          <a:p>
            <a:pPr lvl="1"/>
            <a:r>
              <a:rPr lang="en-GB" sz="2200" dirty="0" smtClean="0">
                <a:latin typeface="Calibri" pitchFamily="34" charset="0"/>
                <a:cs typeface="Calibri" pitchFamily="34" charset="0"/>
              </a:rPr>
              <a:t>Climate and environmental degradation</a:t>
            </a:r>
          </a:p>
          <a:p>
            <a:pPr lvl="1"/>
            <a:r>
              <a:rPr lang="en-GB" sz="2200" dirty="0" smtClean="0">
                <a:latin typeface="Calibri" pitchFamily="34" charset="0"/>
                <a:cs typeface="Calibri" pitchFamily="34" charset="0"/>
              </a:rPr>
              <a:t>Illicit financial flows, war against drug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a:defRPr/>
            </a:pPr>
            <a:fld id="{9F7BCC6E-549C-45BE-A649-450A880528A4}" type="slidenum">
              <a:rPr lang="en-GB" smtClean="0">
                <a:solidFill>
                  <a:prstClr val="black"/>
                </a:solidFill>
              </a:rPr>
              <a:pPr>
                <a:defRPr/>
              </a:pPr>
              <a:t>22</a:t>
            </a:fld>
            <a:endParaRPr lang="en-GB" dirty="0">
              <a:solidFill>
                <a:prstClr val="black"/>
              </a:solidFill>
            </a:endParaRPr>
          </a:p>
        </p:txBody>
      </p:sp>
      <p:sp>
        <p:nvSpPr>
          <p:cNvPr id="5" name="Footer Placeholder 4"/>
          <p:cNvSpPr>
            <a:spLocks noGrp="1"/>
          </p:cNvSpPr>
          <p:nvPr>
            <p:ph type="ftr" sz="quarter" idx="11"/>
          </p:nvPr>
        </p:nvSpPr>
        <p:spPr/>
        <p:txBody>
          <a:bodyPr/>
          <a:lstStyle/>
          <a:p>
            <a:pPr>
              <a:defRPr/>
            </a:pPr>
            <a:r>
              <a:rPr lang="en-GB" dirty="0" smtClean="0"/>
              <a:t>Introduction to DFID</a:t>
            </a:r>
            <a:endParaRPr lang="en-GB" dirty="0"/>
          </a:p>
        </p:txBody>
      </p:sp>
    </p:spTree>
    <p:extLst>
      <p:ext uri="{BB962C8B-B14F-4D97-AF65-F5344CB8AC3E}">
        <p14:creationId xmlns:p14="http://schemas.microsoft.com/office/powerpoint/2010/main" val="30725576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GB" dirty="0" smtClean="0"/>
              <a:t>In 2012, the UN Secretary-General announced a 27 member panel to advise on the global development framework beyond 2015, the target date for the Millennium Development Goals.</a:t>
            </a:r>
          </a:p>
          <a:p>
            <a:pPr>
              <a:defRPr/>
            </a:pPr>
            <a:r>
              <a:rPr lang="en-GB" dirty="0" smtClean="0"/>
              <a:t> </a:t>
            </a:r>
          </a:p>
          <a:p>
            <a:pPr>
              <a:defRPr/>
            </a:pPr>
            <a:r>
              <a:rPr lang="en-GB" b="1" dirty="0" smtClean="0"/>
              <a:t>1. Leave No One Behind</a:t>
            </a:r>
            <a:r>
              <a:rPr lang="en-GB" dirty="0" smtClean="0"/>
              <a:t>. The aim for after 2015 is to finish the job of the millennium development goals and move from reducing to ending extreme poverty, in all its forms. We should ensure that no person – regardless of ethnicity, gender, geography, disability, race or other status – is denied universal human rights and basic economic opportunities.</a:t>
            </a:r>
          </a:p>
          <a:p>
            <a:pPr>
              <a:defRPr/>
            </a:pPr>
            <a:r>
              <a:rPr lang="en-GB" dirty="0" smtClean="0"/>
              <a:t> </a:t>
            </a:r>
          </a:p>
          <a:p>
            <a:pPr>
              <a:defRPr/>
            </a:pPr>
            <a:r>
              <a:rPr lang="en-GB" b="1" dirty="0" smtClean="0"/>
              <a:t>2. Put Sustainable Development at the Core.</a:t>
            </a:r>
            <a:r>
              <a:rPr lang="en-GB" dirty="0" smtClean="0"/>
              <a:t> We need to integrate the social, economic and environmental dimensions of sustainability. This includes acting now to slow the alarming pace of climate change and environmental degradation, which pose unprecedented threats to humanity. By mobilising social, economic and environmental action together we eradicate poverty irreversibly. </a:t>
            </a:r>
          </a:p>
          <a:p>
            <a:pPr>
              <a:defRPr/>
            </a:pPr>
            <a:r>
              <a:rPr lang="en-GB" dirty="0" smtClean="0"/>
              <a:t> </a:t>
            </a:r>
          </a:p>
          <a:p>
            <a:pPr>
              <a:defRPr/>
            </a:pPr>
            <a:r>
              <a:rPr lang="en-GB" b="1" dirty="0" smtClean="0"/>
              <a:t>3. Transform Economies for Jobs and Inclusive Growth</a:t>
            </a:r>
            <a:r>
              <a:rPr lang="en-GB" dirty="0" smtClean="0"/>
              <a:t>. This requires a profound economic transformation to end extreme poverty and improve livelihoods. A profound economic transformation can end extreme poverty and improve livelihoods, by harnessing innovation, technology, and the potential of business. The aim is to ensure good job possibilities while moving to the sustainable patterns of work and life that will be necessary in a world of limited natural resources.</a:t>
            </a:r>
          </a:p>
          <a:p>
            <a:pPr>
              <a:defRPr/>
            </a:pPr>
            <a:r>
              <a:rPr lang="en-GB" dirty="0" smtClean="0"/>
              <a:t> </a:t>
            </a:r>
          </a:p>
          <a:p>
            <a:pPr>
              <a:defRPr/>
            </a:pPr>
            <a:r>
              <a:rPr lang="en-GB" b="1" dirty="0" smtClean="0"/>
              <a:t>4. Build Peace and Effective, Open and Accountable Institutions for All. </a:t>
            </a:r>
            <a:r>
              <a:rPr lang="en-GB" dirty="0" smtClean="0"/>
              <a:t>Freedom from conflict and violence is the most fundamental human entitlement, and the essential foundation for building peaceful and prosperous societies. We need a transparency revolution, so citizens can see exactly where and how taxes, aid and revenues from extractive industries are spent.</a:t>
            </a:r>
          </a:p>
          <a:p>
            <a:pPr>
              <a:defRPr/>
            </a:pPr>
            <a:r>
              <a:rPr lang="en-GB" dirty="0" smtClean="0"/>
              <a:t> </a:t>
            </a:r>
          </a:p>
          <a:p>
            <a:pPr>
              <a:defRPr/>
            </a:pPr>
            <a:r>
              <a:rPr lang="en-GB" b="1" dirty="0" smtClean="0"/>
              <a:t>5. Forge a New Global Partnership.</a:t>
            </a:r>
            <a:r>
              <a:rPr lang="en-GB" dirty="0" smtClean="0"/>
              <a:t> A new spirit of solidarity, cooperation, and mutual accountability must underpin the post-2015 agenda. This new partnership should be based on a common understanding of our shared humanity, based on mutual respect and mutual benefit. It should be </a:t>
            </a:r>
            <a:r>
              <a:rPr lang="en-GB" dirty="0" err="1" smtClean="0"/>
              <a:t>centered</a:t>
            </a:r>
            <a:r>
              <a:rPr lang="en-GB" dirty="0" smtClean="0"/>
              <a:t> around people, including those affected by poverty and exclusion, women, youth, the aged, disabled persons, and indigenous peoples. It should include civil society </a:t>
            </a:r>
          </a:p>
          <a:p>
            <a:pPr>
              <a:defRPr/>
            </a:pP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t the Sustainable Development Summit on Friday 25 September, UN Member States adopted the 2030 Agenda for Sustainable Development, which includes a set of 17 Sustainable Development Goals (SDGs) to end poverty, fight inequality and injustice, and tackle climate change by 2030.</a:t>
            </a:r>
          </a:p>
          <a:p>
            <a:pPr>
              <a:defRPr/>
            </a:pPr>
            <a:endParaRPr lang="en-GB" dirty="0" smtClean="0"/>
          </a:p>
          <a:p>
            <a:pPr marL="228600" indent="-228600">
              <a:buFontTx/>
              <a:buAutoNum type="arabicPeriod"/>
              <a:defRPr/>
            </a:pPr>
            <a:endParaRPr lang="en-GB" dirty="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8CFB83C9-4B71-496B-A1F0-2D2C659EAD5C}" type="slidenum">
              <a:rPr lang="en-GB" altLang="en-US" smtClean="0">
                <a:solidFill>
                  <a:srgbClr val="000000"/>
                </a:solidFill>
                <a:latin typeface="Arial" pitchFamily="34" charset="0"/>
                <a:cs typeface="Arial" pitchFamily="34" charset="0"/>
              </a:rPr>
              <a:pPr eaLnBrk="1" hangingPunct="1">
                <a:spcBef>
                  <a:spcPct val="0"/>
                </a:spcBef>
              </a:pPr>
              <a:t>23</a:t>
            </a:fld>
            <a:endParaRPr lang="en-GB" altLang="en-US" smtClean="0">
              <a:solidFill>
                <a:srgbClr val="000000"/>
              </a:solidFill>
              <a:latin typeface="Arial" pitchFamily="34" charset="0"/>
              <a:cs typeface="Arial" pitchFamily="34" charset="0"/>
            </a:endParaRPr>
          </a:p>
        </p:txBody>
      </p:sp>
      <p:sp>
        <p:nvSpPr>
          <p:cNvPr id="80901"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r>
              <a:rPr lang="en-GB" altLang="en-US" smtClean="0">
                <a:latin typeface="Arial" pitchFamily="34" charset="0"/>
                <a:cs typeface="Arial" pitchFamily="34" charset="0"/>
              </a:rPr>
              <a:t>Introduction to DFID</a:t>
            </a:r>
          </a:p>
        </p:txBody>
      </p:sp>
    </p:spTree>
    <p:extLst>
      <p:ext uri="{BB962C8B-B14F-4D97-AF65-F5344CB8AC3E}">
        <p14:creationId xmlns:p14="http://schemas.microsoft.com/office/powerpoint/2010/main" val="21472543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24</a:t>
            </a:fld>
            <a:endParaRPr lang="en-GB"/>
          </a:p>
        </p:txBody>
      </p:sp>
    </p:spTree>
    <p:extLst>
      <p:ext uri="{BB962C8B-B14F-4D97-AF65-F5344CB8AC3E}">
        <p14:creationId xmlns:p14="http://schemas.microsoft.com/office/powerpoint/2010/main" val="2067595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ntent Page for</a:t>
            </a:r>
            <a:r>
              <a:rPr lang="en-GB" baseline="0" dirty="0" smtClean="0"/>
              <a:t> entire slide pack if used</a:t>
            </a:r>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3</a:t>
            </a:fld>
            <a:endParaRPr lang="en-GB" dirty="0"/>
          </a:p>
        </p:txBody>
      </p:sp>
    </p:spTree>
    <p:extLst>
      <p:ext uri="{BB962C8B-B14F-4D97-AF65-F5344CB8AC3E}">
        <p14:creationId xmlns:p14="http://schemas.microsoft.com/office/powerpoint/2010/main" val="1475391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dirty="0" err="1" smtClean="0"/>
              <a:t>DFID’s</a:t>
            </a:r>
            <a:r>
              <a:rPr lang="en-GB" dirty="0" smtClean="0"/>
              <a:t> key priority</a:t>
            </a:r>
            <a:r>
              <a:rPr lang="en-GB" baseline="0" dirty="0" smtClean="0"/>
              <a:t> areas are: </a:t>
            </a:r>
            <a:r>
              <a:rPr lang="en-GB" sz="1200" kern="1200" dirty="0" smtClean="0">
                <a:solidFill>
                  <a:schemeClr val="tx1"/>
                </a:solidFill>
                <a:effectLst/>
                <a:latin typeface="+mn-lt"/>
                <a:ea typeface="+mn-ea"/>
                <a:cs typeface="+mn-cs"/>
              </a:rPr>
              <a:t>leading in humanitarian assistance, ending aid through growth and empowering women and girls.</a:t>
            </a:r>
            <a:endParaRPr lang="en-GB" sz="10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GB" b="1" dirty="0" smtClean="0">
              <a:effectLst/>
            </a:endParaRPr>
          </a:p>
          <a:p>
            <a:r>
              <a:rPr lang="en-GB" sz="1200" b="1" kern="1200" dirty="0" smtClean="0">
                <a:solidFill>
                  <a:schemeClr val="tx1"/>
                </a:solidFill>
                <a:effectLst/>
                <a:latin typeface="+mn-lt"/>
                <a:ea typeface="+mn-ea"/>
                <a:cs typeface="+mn-cs"/>
              </a:rPr>
              <a:t>Leading in Emergencies-</a:t>
            </a:r>
          </a:p>
          <a:p>
            <a:r>
              <a:rPr lang="en-GB" sz="1200" kern="1200" dirty="0" smtClean="0">
                <a:solidFill>
                  <a:schemeClr val="tx1"/>
                </a:solidFill>
                <a:effectLst/>
                <a:latin typeface="+mn-lt"/>
                <a:ea typeface="+mn-ea"/>
                <a:cs typeface="+mn-cs"/>
              </a:rPr>
              <a:t>As a country, Britain has never stood on the </a:t>
            </a:r>
            <a:r>
              <a:rPr lang="en-GB" sz="1200" kern="1200" dirty="0" err="1" smtClean="0">
                <a:solidFill>
                  <a:schemeClr val="tx1"/>
                </a:solidFill>
                <a:effectLst/>
                <a:latin typeface="+mn-lt"/>
                <a:ea typeface="+mn-ea"/>
                <a:cs typeface="+mn-cs"/>
              </a:rPr>
              <a:t>sidelines</a:t>
            </a:r>
            <a:r>
              <a:rPr lang="en-GB" sz="1200" kern="1200" dirty="0" smtClean="0">
                <a:solidFill>
                  <a:schemeClr val="tx1"/>
                </a:solidFill>
                <a:effectLst/>
                <a:latin typeface="+mn-lt"/>
                <a:ea typeface="+mn-ea"/>
                <a:cs typeface="+mn-cs"/>
              </a:rPr>
              <a:t> and we will continue to lead in humanitarian emergencies, providing urgent assistance to those in </a:t>
            </a:r>
            <a:r>
              <a:rPr lang="en-GB" sz="1200" kern="1200" dirty="0" err="1" smtClean="0">
                <a:solidFill>
                  <a:schemeClr val="tx1"/>
                </a:solidFill>
                <a:effectLst/>
                <a:latin typeface="+mn-lt"/>
                <a:ea typeface="+mn-ea"/>
                <a:cs typeface="+mn-cs"/>
              </a:rPr>
              <a:t>need.We</a:t>
            </a:r>
            <a:r>
              <a:rPr lang="en-GB" sz="1200" kern="1200" dirty="0" smtClean="0">
                <a:solidFill>
                  <a:schemeClr val="tx1"/>
                </a:solidFill>
                <a:effectLst/>
                <a:latin typeface="+mn-lt"/>
                <a:ea typeface="+mn-ea"/>
                <a:cs typeface="+mn-cs"/>
              </a:rPr>
              <a:t> will scale up our work in Syria and neighbouring countries to deal with the largest humanitarian disaster of our generation, shifting to a longer term, more strategic approach</a:t>
            </a:r>
            <a:endParaRPr lang="en-GB" dirty="0" smtClean="0">
              <a:effectLst/>
            </a:endParaRPr>
          </a:p>
          <a:p>
            <a:r>
              <a:rPr lang="en-GB" sz="1200" kern="1200" dirty="0" smtClean="0">
                <a:solidFill>
                  <a:schemeClr val="tx1"/>
                </a:solidFill>
                <a:effectLst/>
                <a:latin typeface="+mn-lt"/>
                <a:ea typeface="+mn-ea"/>
                <a:cs typeface="+mn-cs"/>
              </a:rPr>
              <a:t> </a:t>
            </a:r>
            <a:endParaRPr lang="en-GB" dirty="0" smtClean="0">
              <a:effectLst/>
            </a:endParaRPr>
          </a:p>
          <a:p>
            <a:r>
              <a:rPr lang="en-GB" sz="1200" b="1" kern="1200" dirty="0" smtClean="0">
                <a:solidFill>
                  <a:schemeClr val="tx1"/>
                </a:solidFill>
                <a:effectLst/>
                <a:latin typeface="+mn-lt"/>
                <a:ea typeface="+mn-ea"/>
                <a:cs typeface="+mn-cs"/>
              </a:rPr>
              <a:t>Unleashing</a:t>
            </a:r>
            <a:r>
              <a:rPr lang="en-GB" sz="1200" b="1" kern="1200" baseline="0" dirty="0" smtClean="0">
                <a:solidFill>
                  <a:schemeClr val="tx1"/>
                </a:solidFill>
                <a:effectLst/>
                <a:latin typeface="+mn-lt"/>
                <a:ea typeface="+mn-ea"/>
                <a:cs typeface="+mn-cs"/>
              </a:rPr>
              <a:t> the full potential of girls and women-</a:t>
            </a:r>
          </a:p>
          <a:p>
            <a:r>
              <a:rPr lang="en-GB" sz="1200" kern="1200" dirty="0" smtClean="0">
                <a:solidFill>
                  <a:schemeClr val="tx1"/>
                </a:solidFill>
                <a:effectLst/>
                <a:latin typeface="+mn-lt"/>
                <a:ea typeface="+mn-ea"/>
                <a:cs typeface="+mn-cs"/>
              </a:rPr>
              <a:t>No country can develop with only half their population involved, so we will support girls and </a:t>
            </a:r>
            <a:r>
              <a:rPr lang="en-GB" sz="1200" kern="1200" dirty="0" err="1" smtClean="0">
                <a:solidFill>
                  <a:schemeClr val="tx1"/>
                </a:solidFill>
                <a:effectLst/>
                <a:latin typeface="+mn-lt"/>
                <a:ea typeface="+mn-ea"/>
                <a:cs typeface="+mn-cs"/>
              </a:rPr>
              <a:t>women.We</a:t>
            </a:r>
            <a:r>
              <a:rPr lang="en-GB" sz="1200" kern="1200" dirty="0" smtClean="0">
                <a:solidFill>
                  <a:schemeClr val="tx1"/>
                </a:solidFill>
                <a:effectLst/>
                <a:latin typeface="+mn-lt"/>
                <a:ea typeface="+mn-ea"/>
                <a:cs typeface="+mn-cs"/>
              </a:rPr>
              <a:t> will scale up programmes to prevent violence against women and girls, including in humanitarian situations and in conflict</a:t>
            </a:r>
            <a:endParaRPr lang="en-GB" sz="105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p>
          <a:p>
            <a:r>
              <a:rPr lang="en-GB" sz="1200" b="1" kern="1200" dirty="0" smtClean="0">
                <a:solidFill>
                  <a:schemeClr val="tx1"/>
                </a:solidFill>
                <a:effectLst/>
                <a:latin typeface="+mn-lt"/>
                <a:ea typeface="+mn-ea"/>
                <a:cs typeface="+mn-cs"/>
              </a:rPr>
              <a:t>Ending</a:t>
            </a:r>
            <a:r>
              <a:rPr lang="en-GB" sz="1200" b="1" kern="1200" baseline="0" dirty="0" smtClean="0">
                <a:solidFill>
                  <a:schemeClr val="tx1"/>
                </a:solidFill>
                <a:effectLst/>
                <a:latin typeface="+mn-lt"/>
                <a:ea typeface="+mn-ea"/>
                <a:cs typeface="+mn-cs"/>
              </a:rPr>
              <a:t> aid dependency through jobs-</a:t>
            </a:r>
          </a:p>
          <a:p>
            <a:r>
              <a:rPr lang="en-GB" sz="1200" kern="1200" dirty="0" smtClean="0">
                <a:solidFill>
                  <a:schemeClr val="tx1"/>
                </a:solidFill>
                <a:effectLst/>
                <a:latin typeface="+mn-lt"/>
                <a:ea typeface="+mn-ea"/>
                <a:cs typeface="+mn-cs"/>
              </a:rPr>
              <a:t>We will use smart aid to focus relentlessly on ending the developing world’s dependency on aid through jobs and economic growth.</a:t>
            </a:r>
          </a:p>
          <a:p>
            <a:pPr lvl="0"/>
            <a:r>
              <a:rPr lang="en-GB" sz="1200" kern="1200" dirty="0" smtClean="0">
                <a:solidFill>
                  <a:schemeClr val="tx1"/>
                </a:solidFill>
                <a:effectLst/>
                <a:latin typeface="+mn-lt"/>
                <a:ea typeface="+mn-ea"/>
                <a:cs typeface="+mn-cs"/>
              </a:rPr>
              <a:t>We will invest in programmes that build businesses and create markets.</a:t>
            </a:r>
            <a:endParaRPr lang="en-GB" sz="1000" kern="1200" dirty="0" smtClean="0">
              <a:solidFill>
                <a:schemeClr val="tx1"/>
              </a:solidFill>
              <a:effectLst/>
              <a:latin typeface="+mn-lt"/>
              <a:ea typeface="+mn-ea"/>
              <a:cs typeface="+mn-cs"/>
            </a:endParaRPr>
          </a:p>
          <a:p>
            <a:pPr lvl="0"/>
            <a:r>
              <a:rPr lang="en-GB" sz="1200" kern="1200" dirty="0" smtClean="0">
                <a:solidFill>
                  <a:schemeClr val="tx1"/>
                </a:solidFill>
                <a:effectLst/>
                <a:latin typeface="+mn-lt"/>
                <a:ea typeface="+mn-ea"/>
                <a:cs typeface="+mn-cs"/>
              </a:rPr>
              <a:t>We will partner with UK businesses to help them join the development push and invest responsibly in the developing world.</a:t>
            </a:r>
            <a:endParaRPr lang="en-GB" sz="10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5</a:t>
            </a:fld>
            <a:endParaRPr lang="en-GB"/>
          </a:p>
        </p:txBody>
      </p:sp>
    </p:spTree>
    <p:extLst>
      <p:ext uri="{BB962C8B-B14F-4D97-AF65-F5344CB8AC3E}">
        <p14:creationId xmlns:p14="http://schemas.microsoft.com/office/powerpoint/2010/main" val="706870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F7BCC6E-549C-45BE-A649-450A880528A4}" type="slidenum">
              <a:rPr lang="en-GB" smtClean="0"/>
              <a:pPr>
                <a:defRPr/>
              </a:pPr>
              <a:t>6</a:t>
            </a:fld>
            <a:endParaRPr lang="en-GB"/>
          </a:p>
        </p:txBody>
      </p:sp>
      <p:sp>
        <p:nvSpPr>
          <p:cNvPr id="5" name="Footer Placeholder 4"/>
          <p:cNvSpPr>
            <a:spLocks noGrp="1"/>
          </p:cNvSpPr>
          <p:nvPr>
            <p:ph type="ftr" sz="quarter" idx="11"/>
          </p:nvPr>
        </p:nvSpPr>
        <p:spPr/>
        <p:txBody>
          <a:bodyPr/>
          <a:lstStyle/>
          <a:p>
            <a:pPr>
              <a:defRPr/>
            </a:pPr>
            <a:r>
              <a:rPr lang="en-GB" smtClean="0"/>
              <a:t>Introduction to DFID</a:t>
            </a:r>
            <a:endParaRPr lang="en-GB"/>
          </a:p>
        </p:txBody>
      </p:sp>
    </p:spTree>
    <p:extLst>
      <p:ext uri="{BB962C8B-B14F-4D97-AF65-F5344CB8AC3E}">
        <p14:creationId xmlns:p14="http://schemas.microsoft.com/office/powerpoint/2010/main" val="4036000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DFID priority countries are chosen to support the countries where aid will make the biggest differ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List of 28 High priority DFID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Arial" charset="0"/>
                <a:ea typeface="+mn-ea"/>
                <a:cs typeface="+mn-cs"/>
              </a:rPr>
              <a:t> </a:t>
            </a:r>
            <a:endParaRPr kumimoji="0" lang="en-GB" sz="1200" b="0" i="0" u="none" strike="noStrike" kern="1200" cap="none" spc="0" normalizeH="0" baseline="0" noProof="0" dirty="0" smtClean="0">
              <a:ln>
                <a:noFill/>
              </a:ln>
              <a:solidFill>
                <a:prstClr val="black"/>
              </a:solidFill>
              <a:effectLst/>
              <a:uLnTx/>
              <a:uFillTx/>
              <a:latin typeface="Arial"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Arial" charset="0"/>
                <a:ea typeface="+mn-ea"/>
                <a:cs typeface="+mn-cs"/>
              </a:rPr>
              <a:t>Afghanistan, Bangladesh, Burma, Congo, Dem. Rep, Ethiopia, Ghana, Kenya, Kyrgyzstan, Liberia, Malawi, Mozambique, Nepal, Nigeria, Pakistan, Occupied Palestinian Territories, Rwanda, Sierra Leone, Somalia, South Sudan, Sudan, Tajikistan, Tanzania, Uganda, Yemen, Zambia, Zimbabwe. Both India and South Africa are included in the priority countries but no additional funding will be given to their programmes and all aid will be phased out by 201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smtClean="0">
              <a:ln>
                <a:noFill/>
              </a:ln>
              <a:solidFill>
                <a:prstClr val="black"/>
              </a:solidFill>
              <a:effectLst/>
              <a:uLnTx/>
              <a:uFillTx/>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4052294-D049-4EE5-9D3E-9468350D6253}" type="slidenum">
              <a:rPr lang="en-GB" smtClean="0"/>
              <a:t>7</a:t>
            </a:fld>
            <a:endParaRPr lang="en-GB"/>
          </a:p>
        </p:txBody>
      </p:sp>
    </p:spTree>
    <p:extLst>
      <p:ext uri="{BB962C8B-B14F-4D97-AF65-F5344CB8AC3E}">
        <p14:creationId xmlns:p14="http://schemas.microsoft.com/office/powerpoint/2010/main" val="1318257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ransition also in Ghana?</a:t>
            </a:r>
            <a:endParaRPr lang="en-GB" dirty="0"/>
          </a:p>
        </p:txBody>
      </p:sp>
      <p:sp>
        <p:nvSpPr>
          <p:cNvPr id="4" name="Slide Number Placeholder 3"/>
          <p:cNvSpPr>
            <a:spLocks noGrp="1"/>
          </p:cNvSpPr>
          <p:nvPr>
            <p:ph type="sldNum" sz="quarter" idx="10"/>
          </p:nvPr>
        </p:nvSpPr>
        <p:spPr/>
        <p:txBody>
          <a:bodyPr/>
          <a:lstStyle/>
          <a:p>
            <a:pPr>
              <a:defRPr/>
            </a:pPr>
            <a:fld id="{154F8008-B6FA-49A0-96A3-A189370060BD}" type="slidenum">
              <a:rPr lang="en-GB" smtClean="0">
                <a:solidFill>
                  <a:prstClr val="black"/>
                </a:solidFill>
              </a:rPr>
              <a:pPr>
                <a:defRPr/>
              </a:pPr>
              <a:t>8</a:t>
            </a:fld>
            <a:endParaRPr lang="en-GB">
              <a:solidFill>
                <a:prstClr val="black"/>
              </a:solidFill>
            </a:endParaRPr>
          </a:p>
        </p:txBody>
      </p:sp>
    </p:spTree>
    <p:extLst>
      <p:ext uri="{BB962C8B-B14F-4D97-AF65-F5344CB8AC3E}">
        <p14:creationId xmlns:p14="http://schemas.microsoft.com/office/powerpoint/2010/main" val="2681621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28 priority countries</a:t>
            </a:r>
          </a:p>
          <a:p>
            <a:r>
              <a:rPr lang="en-GB" altLang="en-US" dirty="0" smtClean="0"/>
              <a:t>21 are fragile or conflict-afflicted states (</a:t>
            </a:r>
            <a:r>
              <a:rPr lang="en-GB" altLang="en-US" dirty="0" err="1" smtClean="0"/>
              <a:t>FCAS</a:t>
            </a:r>
            <a:r>
              <a:rPr lang="en-GB" altLang="en-US" dirty="0" smtClean="0"/>
              <a:t>)</a:t>
            </a:r>
          </a:p>
          <a:p>
            <a:endParaRPr lang="en-GB" altLang="en-US" dirty="0" smtClean="0"/>
          </a:p>
          <a:p>
            <a:r>
              <a:rPr lang="en-GB" altLang="en-US" dirty="0" smtClean="0"/>
              <a:t>DFID priority countries are chosen to support the countries where aid will make the biggest difference, comparative advantage, basis of need.</a:t>
            </a:r>
          </a:p>
          <a:p>
            <a:endParaRPr lang="en-GB" altLang="en-US" dirty="0" smtClean="0"/>
          </a:p>
          <a:p>
            <a:r>
              <a:rPr lang="en-GB" altLang="en-US" dirty="0" smtClean="0"/>
              <a:t>List of 28 High priority DFID Countries:</a:t>
            </a:r>
          </a:p>
          <a:p>
            <a:r>
              <a:rPr lang="en-GB" altLang="en-US" b="1" dirty="0" smtClean="0">
                <a:latin typeface="Arial" pitchFamily="34" charset="0"/>
              </a:rPr>
              <a:t> </a:t>
            </a:r>
            <a:endParaRPr lang="en-GB" altLang="en-US" dirty="0" smtClean="0">
              <a:latin typeface="Arial" pitchFamily="34" charset="0"/>
            </a:endParaRPr>
          </a:p>
          <a:p>
            <a:r>
              <a:rPr lang="en-GB" altLang="en-US" dirty="0" smtClean="0">
                <a:latin typeface="Arial" pitchFamily="34" charset="0"/>
              </a:rPr>
              <a:t>Afghanistan, Bangladesh, Burma, Congo, Dem. Rep, Ethiopia, Ghana, Kenya, Kyrgyzstan, Liberia, Malawi, Mozambique, Nepal, Nigeria, Pakistan, Occupied Palestinian Territories, Rwanda, Sierra Leone, Somalia, South Sudan, Sudan, Tajikistan, Tanzania, Uganda, Yemen, Zambia, Zimbabwe. Both India and South Africa are included in the priority countries but no additional funding will be given to their programmes and all aid will be phased out by 2015. </a:t>
            </a:r>
          </a:p>
          <a:p>
            <a:endParaRPr lang="en-GB" altLang="en-US" dirty="0" smtClean="0"/>
          </a:p>
          <a:p>
            <a:pPr eaLnBrk="1" hangingPunct="1">
              <a:spcBef>
                <a:spcPct val="0"/>
              </a:spcBef>
            </a:pPr>
            <a:r>
              <a:rPr lang="en-GB" altLang="en-US" dirty="0" smtClean="0"/>
              <a:t>The largest country programme was Ethiopia, with expenditure of £284.4 million. </a:t>
            </a:r>
            <a:endParaRPr lang="en-US" altLang="en-US" dirty="0" smtClean="0">
              <a:cs typeface="Calibri" pitchFamily="34" charset="0"/>
            </a:endParaRPr>
          </a:p>
          <a:p>
            <a:endParaRPr lang="en-GB" altLang="en-US" dirty="0" smtClean="0"/>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AC8D35C7-0EDF-424F-88F5-E01097496976}" type="slidenum">
              <a:rPr lang="en-GB" altLang="en-US" smtClean="0">
                <a:solidFill>
                  <a:srgbClr val="000000"/>
                </a:solidFill>
                <a:latin typeface="Arial" pitchFamily="34" charset="0"/>
                <a:cs typeface="Arial" pitchFamily="34" charset="0"/>
              </a:rPr>
              <a:pPr eaLnBrk="1" hangingPunct="1">
                <a:spcBef>
                  <a:spcPct val="0"/>
                </a:spcBef>
              </a:pPr>
              <a:t>9</a:t>
            </a:fld>
            <a:endParaRPr lang="en-GB" altLang="en-US" smtClean="0">
              <a:solidFill>
                <a:srgbClr val="000000"/>
              </a:solidFill>
              <a:latin typeface="Arial" pitchFamily="34" charset="0"/>
              <a:cs typeface="Arial" pitchFamily="34" charset="0"/>
            </a:endParaRPr>
          </a:p>
        </p:txBody>
      </p:sp>
      <p:sp>
        <p:nvSpPr>
          <p:cNvPr id="778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r>
              <a:rPr lang="en-GB" altLang="en-US" smtClean="0">
                <a:latin typeface="Arial" pitchFamily="34" charset="0"/>
                <a:cs typeface="Arial" pitchFamily="34" charset="0"/>
              </a:rPr>
              <a:t>Introduction to DFID</a:t>
            </a:r>
          </a:p>
        </p:txBody>
      </p:sp>
    </p:spTree>
    <p:extLst>
      <p:ext uri="{BB962C8B-B14F-4D97-AF65-F5344CB8AC3E}">
        <p14:creationId xmlns:p14="http://schemas.microsoft.com/office/powerpoint/2010/main" val="29942936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sz="1200" b="0" i="0" u="none" strike="noStrike" kern="1200" baseline="0" dirty="0" smtClean="0">
              <a:solidFill>
                <a:schemeClr val="tx1"/>
              </a:solidFill>
              <a:latin typeface="+mn-lt"/>
              <a:ea typeface="+mn-ea"/>
              <a:cs typeface="+mn-cs"/>
            </a:endParaRPr>
          </a:p>
          <a:p>
            <a:pPr rtl="0"/>
            <a:r>
              <a:rPr lang="en-GB" sz="1200" b="1" i="0" u="sng" strike="noStrike" kern="1200" baseline="0" dirty="0" smtClean="0">
                <a:solidFill>
                  <a:schemeClr val="tx1"/>
                </a:solidFill>
                <a:latin typeface="+mn-lt"/>
                <a:ea typeface="+mn-ea"/>
                <a:cs typeface="+mn-cs"/>
              </a:rPr>
              <a:t>For reference:</a:t>
            </a:r>
            <a:r>
              <a:rPr lang="en-GB" sz="1200" b="0" i="0" u="none" strike="noStrike" kern="1200" baseline="0" dirty="0" smtClean="0">
                <a:solidFill>
                  <a:schemeClr val="tx1"/>
                </a:solidFill>
                <a:latin typeface="+mn-lt"/>
                <a:ea typeface="+mn-ea"/>
                <a:cs typeface="+mn-cs"/>
              </a:rPr>
              <a:t>  UK government bailed out </a:t>
            </a:r>
            <a:r>
              <a:rPr lang="en-GB" sz="1200" b="0" i="0" u="none" strike="noStrike" kern="1200" baseline="0" dirty="0" err="1" smtClean="0">
                <a:solidFill>
                  <a:schemeClr val="tx1"/>
                </a:solidFill>
                <a:latin typeface="+mn-lt"/>
                <a:ea typeface="+mn-ea"/>
                <a:cs typeface="+mn-cs"/>
              </a:rPr>
              <a:t>RBS</a:t>
            </a:r>
            <a:r>
              <a:rPr lang="en-GB" sz="1200" b="0" i="0" u="none" strike="noStrike" kern="1200" baseline="0" dirty="0" smtClean="0">
                <a:solidFill>
                  <a:schemeClr val="tx1"/>
                </a:solidFill>
                <a:latin typeface="+mn-lt"/>
                <a:ea typeface="+mn-ea"/>
                <a:cs typeface="+mn-cs"/>
              </a:rPr>
              <a:t> and Lloyds with £65 billion; and provided £1 trillion of cash and guarantees to the banking sector</a:t>
            </a:r>
          </a:p>
          <a:p>
            <a:endParaRPr lang="en-GB" dirty="0"/>
          </a:p>
        </p:txBody>
      </p:sp>
      <p:sp>
        <p:nvSpPr>
          <p:cNvPr id="4" name="Slide Number Placeholder 3"/>
          <p:cNvSpPr>
            <a:spLocks noGrp="1"/>
          </p:cNvSpPr>
          <p:nvPr>
            <p:ph type="sldNum" sz="quarter" idx="10"/>
          </p:nvPr>
        </p:nvSpPr>
        <p:spPr/>
        <p:txBody>
          <a:bodyPr/>
          <a:lstStyle/>
          <a:p>
            <a:fld id="{612F06A5-976D-4BF7-A79A-49D35346837C}" type="slidenum">
              <a:rPr lang="en-GB" smtClean="0"/>
              <a:t>10</a:t>
            </a:fld>
            <a:endParaRPr lang="en-GB"/>
          </a:p>
        </p:txBody>
      </p:sp>
    </p:spTree>
    <p:extLst>
      <p:ext uri="{BB962C8B-B14F-4D97-AF65-F5344CB8AC3E}">
        <p14:creationId xmlns:p14="http://schemas.microsoft.com/office/powerpoint/2010/main" val="652163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63958314-0280-4DB2-9446-BD1E470B121F}" type="datetimeFigureOut">
              <a:rPr lang="en-GB" smtClean="0"/>
              <a:t>20/04/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163225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63958314-0280-4DB2-9446-BD1E470B121F}" type="datetimeFigureOut">
              <a:rPr lang="en-GB" smtClean="0"/>
              <a:t>20/04/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865410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63958314-0280-4DB2-9446-BD1E470B121F}" type="datetimeFigureOut">
              <a:rPr lang="en-GB" smtClean="0"/>
              <a:t>20/04/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3483228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1438275"/>
            <a:ext cx="8456613" cy="50958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58775" y="2159000"/>
            <a:ext cx="8456613" cy="1816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358775" y="4127500"/>
            <a:ext cx="8456613" cy="1816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ftr" sz="quarter" idx="10"/>
          </p:nvPr>
        </p:nvSpPr>
        <p:spPr>
          <a:xfrm>
            <a:off x="5148263" y="6453188"/>
            <a:ext cx="3636962" cy="215900"/>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r>
              <a:rPr lang="en-GB"/>
              <a:t>Slide </a:t>
            </a:r>
            <a:fld id="{230522DF-3845-491F-9DB5-8421BDFE13C9}" type="slidenum">
              <a:rPr lang="en-GB"/>
              <a:pPr>
                <a:defRPr/>
              </a:pPr>
              <a:t>‹#›</a:t>
            </a:fld>
            <a:endParaRPr lang="en-GB"/>
          </a:p>
        </p:txBody>
      </p:sp>
    </p:spTree>
    <p:extLst>
      <p:ext uri="{BB962C8B-B14F-4D97-AF65-F5344CB8AC3E}">
        <p14:creationId xmlns:p14="http://schemas.microsoft.com/office/powerpoint/2010/main" val="2610139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63958314-0280-4DB2-9446-BD1E470B121F}" type="datetimeFigureOut">
              <a:rPr lang="en-GB" smtClean="0"/>
              <a:t>20/04/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23771988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3958314-0280-4DB2-9446-BD1E470B121F}" type="datetimeFigureOut">
              <a:rPr lang="en-GB" smtClean="0"/>
              <a:t>20/04/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1580826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63958314-0280-4DB2-9446-BD1E470B121F}" type="datetimeFigureOut">
              <a:rPr lang="en-GB" smtClean="0"/>
              <a:t>20/04/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17158530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63958314-0280-4DB2-9446-BD1E470B121F}" type="datetimeFigureOut">
              <a:rPr lang="en-GB" smtClean="0"/>
              <a:t>20/04/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3974935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3958314-0280-4DB2-9446-BD1E470B121F}" type="datetimeFigureOut">
              <a:rPr lang="en-GB" smtClean="0"/>
              <a:t>20/04/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206452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958314-0280-4DB2-9446-BD1E470B121F}" type="datetimeFigureOut">
              <a:rPr lang="en-GB" smtClean="0"/>
              <a:t>20/04/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605099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958314-0280-4DB2-9446-BD1E470B121F}" type="datetimeFigureOut">
              <a:rPr lang="en-GB" smtClean="0"/>
              <a:t>20/04/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16717107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958314-0280-4DB2-9446-BD1E470B121F}" type="datetimeFigureOut">
              <a:rPr lang="en-GB" smtClean="0"/>
              <a:t>20/04/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ABAB279-C028-4415-945A-C3773E894E27}" type="slidenum">
              <a:rPr lang="en-GB" smtClean="0"/>
              <a:t>‹#›</a:t>
            </a:fld>
            <a:endParaRPr lang="en-GB"/>
          </a:p>
        </p:txBody>
      </p:sp>
    </p:spTree>
    <p:extLst>
      <p:ext uri="{BB962C8B-B14F-4D97-AF65-F5344CB8AC3E}">
        <p14:creationId xmlns:p14="http://schemas.microsoft.com/office/powerpoint/2010/main" val="35541151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958314-0280-4DB2-9446-BD1E470B121F}" type="datetimeFigureOut">
              <a:rPr lang="en-GB" smtClean="0"/>
              <a:t>20/04/2016</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BAB279-C028-4415-945A-C3773E894E27}" type="slidenum">
              <a:rPr lang="en-GB" smtClean="0"/>
              <a:t>‹#›</a:t>
            </a:fld>
            <a:endParaRPr lang="en-GB"/>
          </a:p>
        </p:txBody>
      </p:sp>
    </p:spTree>
    <p:extLst>
      <p:ext uri="{BB962C8B-B14F-4D97-AF65-F5344CB8AC3E}">
        <p14:creationId xmlns:p14="http://schemas.microsoft.com/office/powerpoint/2010/main" val="2389566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3.jpeg"/><Relationship Id="rId7" Type="http://schemas.openxmlformats.org/officeDocument/2006/relationships/image" Target="../media/image15.jp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4.jpg"/><Relationship Id="rId5" Type="http://schemas.openxmlformats.org/officeDocument/2006/relationships/image" Target="../media/image6.jpeg"/><Relationship Id="rId4" Type="http://schemas.openxmlformats.org/officeDocument/2006/relationships/image" Target="../media/image5.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6.jpe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6.jpeg"/></Relationships>
</file>

<file path=ppt/slides/_rels/slide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6.jpe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24.jpeg"/><Relationship Id="rId4" Type="http://schemas.openxmlformats.org/officeDocument/2006/relationships/image" Target="../media/image6.jpeg"/></Relationships>
</file>

<file path=ppt/slides/_rels/slide2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9.jpe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9.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slideLayout" Target="../slideLayouts/slideLayout2.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notesSlide" Target="../notesSlides/notesSlide8.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image" Target="../media/image5.png"/><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image" Target="../media/image6.jpeg"/><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334" Type="http://schemas.openxmlformats.org/officeDocument/2006/relationships/tags" Target="../tags/tag334.xml"/><Relationship Id="rId350" Type="http://schemas.openxmlformats.org/officeDocument/2006/relationships/tags" Target="../tags/tag350.xml"/><Relationship Id="rId355" Type="http://schemas.openxmlformats.org/officeDocument/2006/relationships/tags" Target="../tags/tag35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200288" y="1628800"/>
            <a:ext cx="8710925" cy="2088231"/>
          </a:xfrm>
        </p:spPr>
        <p:txBody>
          <a:bodyPr>
            <a:normAutofit/>
          </a:bodyPr>
          <a:lstStyle/>
          <a:p>
            <a:pPr algn="ctr" eaLnBrk="1" hangingPunct="1"/>
            <a:r>
              <a:rPr lang="en-US" sz="4800" b="1" dirty="0" smtClean="0">
                <a:solidFill>
                  <a:schemeClr val="tx1"/>
                </a:solidFill>
              </a:rPr>
              <a:t>Department for International Development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363" y="4221088"/>
            <a:ext cx="2592288" cy="1781071"/>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4248" y="3986132"/>
            <a:ext cx="2106965" cy="2106965"/>
          </a:xfrm>
          <a:prstGeom prst="rect">
            <a:avLst/>
          </a:prstGeom>
        </p:spPr>
      </p:pic>
    </p:spTree>
    <p:extLst>
      <p:ext uri="{BB962C8B-B14F-4D97-AF65-F5344CB8AC3E}">
        <p14:creationId xmlns:p14="http://schemas.microsoft.com/office/powerpoint/2010/main" val="42614703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59993"/>
            <a:ext cx="9324528" cy="769441"/>
          </a:xfrm>
          <a:prstGeom prst="rect">
            <a:avLst/>
          </a:prstGeom>
          <a:noFill/>
        </p:spPr>
        <p:txBody>
          <a:bodyPr wrap="square" rtlCol="0">
            <a:spAutoFit/>
          </a:bodyPr>
          <a:lstStyle/>
          <a:p>
            <a:r>
              <a:rPr lang="en-GB" sz="4400" b="1" dirty="0">
                <a:latin typeface="Calibri" pitchFamily="34" charset="0"/>
                <a:ea typeface="+mj-ea"/>
                <a:cs typeface="Calibri" pitchFamily="34" charset="0"/>
              </a:rPr>
              <a:t>Government Spend by Department </a:t>
            </a:r>
            <a:endParaRPr lang="en-GB" sz="3600" b="1" dirty="0">
              <a:latin typeface="Calibri" pitchFamily="34" charset="0"/>
              <a:ea typeface="+mj-ea"/>
              <a:cs typeface="Calibri" pitchFamily="34" charset="0"/>
            </a:endParaRPr>
          </a:p>
        </p:txBody>
      </p:sp>
      <p:graphicFrame>
        <p:nvGraphicFramePr>
          <p:cNvPr id="4" name="Chart 3"/>
          <p:cNvGraphicFramePr>
            <a:graphicFrameLocks/>
          </p:cNvGraphicFramePr>
          <p:nvPr>
            <p:extLst>
              <p:ext uri="{D42A27DB-BD31-4B8C-83A1-F6EECF244321}">
                <p14:modId xmlns:p14="http://schemas.microsoft.com/office/powerpoint/2010/main" val="624461119"/>
              </p:ext>
            </p:extLst>
          </p:nvPr>
        </p:nvGraphicFramePr>
        <p:xfrm>
          <a:off x="0" y="980728"/>
          <a:ext cx="9177338" cy="60011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2209152798"/>
              </p:ext>
            </p:extLst>
          </p:nvPr>
        </p:nvGraphicFramePr>
        <p:xfrm>
          <a:off x="179512" y="829434"/>
          <a:ext cx="8617396" cy="56578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992244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ular Callout 17"/>
          <p:cNvSpPr/>
          <p:nvPr/>
        </p:nvSpPr>
        <p:spPr>
          <a:xfrm>
            <a:off x="6123367" y="4005064"/>
            <a:ext cx="2398778" cy="1816656"/>
          </a:xfrm>
          <a:prstGeom prst="wedgeRectCallout">
            <a:avLst>
              <a:gd name="adj1" fmla="val -96917"/>
              <a:gd name="adj2" fmla="val -60774"/>
            </a:avLst>
          </a:prstGeom>
          <a:noFill/>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7" name="Rectangular Callout 16"/>
          <p:cNvSpPr/>
          <p:nvPr/>
        </p:nvSpPr>
        <p:spPr>
          <a:xfrm>
            <a:off x="6423621" y="1412776"/>
            <a:ext cx="2468859" cy="1854013"/>
          </a:xfrm>
          <a:prstGeom prst="wedgeRectCallout">
            <a:avLst>
              <a:gd name="adj1" fmla="val -147944"/>
              <a:gd name="adj2" fmla="val 125760"/>
            </a:avLst>
          </a:prstGeom>
          <a:noFill/>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 name="Rectangular Callout 15"/>
          <p:cNvSpPr/>
          <p:nvPr/>
        </p:nvSpPr>
        <p:spPr>
          <a:xfrm>
            <a:off x="467544" y="4005064"/>
            <a:ext cx="2448272" cy="1728192"/>
          </a:xfrm>
          <a:prstGeom prst="wedgeRectCallout">
            <a:avLst>
              <a:gd name="adj1" fmla="val 142140"/>
              <a:gd name="adj2" fmla="val -51877"/>
            </a:avLst>
          </a:prstGeom>
          <a:noFill/>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 name="Rectangular Callout 6"/>
          <p:cNvSpPr/>
          <p:nvPr/>
        </p:nvSpPr>
        <p:spPr>
          <a:xfrm>
            <a:off x="323529" y="1268760"/>
            <a:ext cx="2448272" cy="1728192"/>
          </a:xfrm>
          <a:prstGeom prst="wedgeRectCallout">
            <a:avLst>
              <a:gd name="adj1" fmla="val 148699"/>
              <a:gd name="adj2" fmla="val 133074"/>
            </a:avLst>
          </a:prstGeom>
          <a:noFill/>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45070" name="Title 1"/>
          <p:cNvSpPr>
            <a:spLocks noGrp="1"/>
          </p:cNvSpPr>
          <p:nvPr>
            <p:ph type="title"/>
          </p:nvPr>
        </p:nvSpPr>
        <p:spPr>
          <a:xfrm>
            <a:off x="468313" y="541829"/>
            <a:ext cx="8456613" cy="750887"/>
          </a:xfrm>
        </p:spPr>
        <p:txBody>
          <a:bodyPr>
            <a:noAutofit/>
          </a:bodyPr>
          <a:lstStyle/>
          <a:p>
            <a:pPr algn="ctr"/>
            <a:r>
              <a:rPr lang="en-GB" altLang="en-US" b="1" dirty="0" smtClean="0">
                <a:latin typeface="Calibri" pitchFamily="34" charset="0"/>
                <a:cs typeface="Calibri" pitchFamily="34" charset="0"/>
              </a:rPr>
              <a:t>Management</a:t>
            </a:r>
          </a:p>
        </p:txBody>
      </p:sp>
      <p:sp>
        <p:nvSpPr>
          <p:cNvPr id="45073" name="TextBox 4"/>
          <p:cNvSpPr txBox="1">
            <a:spLocks noChangeArrowheads="1"/>
          </p:cNvSpPr>
          <p:nvPr/>
        </p:nvSpPr>
        <p:spPr bwMode="auto">
          <a:xfrm>
            <a:off x="468313" y="2938463"/>
            <a:ext cx="3167062"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r>
              <a:rPr lang="en-GB" altLang="en-US" sz="1400" b="1" dirty="0">
                <a:latin typeface="Calibri" pitchFamily="34" charset="0"/>
                <a:cs typeface="Calibri" pitchFamily="34" charset="0"/>
              </a:rPr>
              <a:t>Secretary of State</a:t>
            </a:r>
          </a:p>
          <a:p>
            <a:pPr eaLnBrk="1" hangingPunct="1">
              <a:spcBef>
                <a:spcPct val="0"/>
              </a:spcBef>
              <a:buFontTx/>
              <a:buNone/>
            </a:pPr>
            <a:r>
              <a:rPr lang="en-GB" altLang="en-US" sz="1400" dirty="0" err="1">
                <a:latin typeface="Calibri" pitchFamily="34" charset="0"/>
                <a:cs typeface="Calibri" pitchFamily="34" charset="0"/>
              </a:rPr>
              <a:t>Rt</a:t>
            </a:r>
            <a:r>
              <a:rPr lang="en-GB" altLang="en-US" sz="1400" dirty="0">
                <a:latin typeface="Calibri" pitchFamily="34" charset="0"/>
                <a:cs typeface="Calibri" pitchFamily="34" charset="0"/>
              </a:rPr>
              <a:t> Hon Justine Greening MP</a:t>
            </a:r>
          </a:p>
          <a:p>
            <a:pPr eaLnBrk="1" hangingPunct="1">
              <a:spcBef>
                <a:spcPct val="0"/>
              </a:spcBef>
              <a:buFontTx/>
              <a:buNone/>
            </a:pPr>
            <a:endParaRPr lang="en-GB" altLang="en-US" sz="1800" dirty="0"/>
          </a:p>
        </p:txBody>
      </p:sp>
      <p:sp>
        <p:nvSpPr>
          <p:cNvPr id="45074" name="TextBox 8"/>
          <p:cNvSpPr txBox="1">
            <a:spLocks noChangeArrowheads="1"/>
          </p:cNvSpPr>
          <p:nvPr/>
        </p:nvSpPr>
        <p:spPr bwMode="auto">
          <a:xfrm>
            <a:off x="3349154" y="2938463"/>
            <a:ext cx="31670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r>
              <a:rPr lang="en-GB" altLang="en-US" sz="1400" b="1" dirty="0">
                <a:latin typeface="Calibri" pitchFamily="34" charset="0"/>
                <a:cs typeface="Calibri" pitchFamily="34" charset="0"/>
              </a:rPr>
              <a:t>Minister of State</a:t>
            </a:r>
          </a:p>
          <a:p>
            <a:pPr eaLnBrk="1" hangingPunct="1">
              <a:spcBef>
                <a:spcPct val="0"/>
              </a:spcBef>
              <a:buFontTx/>
              <a:buNone/>
            </a:pPr>
            <a:r>
              <a:rPr lang="en-GB" altLang="en-US" sz="1400" dirty="0" err="1">
                <a:latin typeface="Calibri" pitchFamily="34" charset="0"/>
                <a:cs typeface="Calibri" pitchFamily="34" charset="0"/>
              </a:rPr>
              <a:t>Rt</a:t>
            </a:r>
            <a:r>
              <a:rPr lang="en-GB" altLang="en-US" sz="1400" dirty="0">
                <a:latin typeface="Calibri" pitchFamily="34" charset="0"/>
                <a:cs typeface="Calibri" pitchFamily="34" charset="0"/>
              </a:rPr>
              <a:t> Hon Desmond Swayne MP</a:t>
            </a:r>
          </a:p>
        </p:txBody>
      </p:sp>
      <p:sp>
        <p:nvSpPr>
          <p:cNvPr id="45075" name="TextBox 10"/>
          <p:cNvSpPr txBox="1">
            <a:spLocks noChangeArrowheads="1"/>
          </p:cNvSpPr>
          <p:nvPr/>
        </p:nvSpPr>
        <p:spPr bwMode="auto">
          <a:xfrm>
            <a:off x="468313" y="5662613"/>
            <a:ext cx="408463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r>
              <a:rPr lang="en-GB" altLang="en-US" sz="1400" b="1" dirty="0">
                <a:latin typeface="Calibri" pitchFamily="34" charset="0"/>
                <a:cs typeface="Calibri" pitchFamily="34" charset="0"/>
              </a:rPr>
              <a:t>Parliamentary </a:t>
            </a:r>
            <a:r>
              <a:rPr lang="en-GB" altLang="en-US" sz="1400" b="1" dirty="0" smtClean="0">
                <a:latin typeface="Calibri" pitchFamily="34" charset="0"/>
                <a:cs typeface="Calibri" pitchFamily="34" charset="0"/>
              </a:rPr>
              <a:t>Under</a:t>
            </a:r>
          </a:p>
          <a:p>
            <a:pPr eaLnBrk="1" hangingPunct="1">
              <a:spcBef>
                <a:spcPct val="0"/>
              </a:spcBef>
              <a:buFontTx/>
              <a:buNone/>
            </a:pPr>
            <a:r>
              <a:rPr lang="en-GB" altLang="en-US" sz="1400" b="1" dirty="0" smtClean="0">
                <a:latin typeface="Calibri" pitchFamily="34" charset="0"/>
                <a:cs typeface="Calibri" pitchFamily="34" charset="0"/>
              </a:rPr>
              <a:t> </a:t>
            </a:r>
            <a:r>
              <a:rPr lang="en-GB" altLang="en-US" sz="1400" b="1" dirty="0">
                <a:latin typeface="Calibri" pitchFamily="34" charset="0"/>
                <a:cs typeface="Calibri" pitchFamily="34" charset="0"/>
              </a:rPr>
              <a:t>Secretary of State</a:t>
            </a:r>
          </a:p>
          <a:p>
            <a:pPr eaLnBrk="1" hangingPunct="1">
              <a:spcBef>
                <a:spcPct val="0"/>
              </a:spcBef>
              <a:buFontTx/>
              <a:buNone/>
            </a:pPr>
            <a:r>
              <a:rPr lang="en-GB" altLang="en-US" sz="1400" dirty="0">
                <a:latin typeface="Calibri" pitchFamily="34" charset="0"/>
                <a:cs typeface="Calibri" pitchFamily="34" charset="0"/>
              </a:rPr>
              <a:t>Baroness  </a:t>
            </a:r>
            <a:r>
              <a:rPr lang="en-GB" altLang="en-US" sz="1400" dirty="0" smtClean="0">
                <a:latin typeface="Calibri" pitchFamily="34" charset="0"/>
                <a:cs typeface="Calibri" pitchFamily="34" charset="0"/>
              </a:rPr>
              <a:t>Verma</a:t>
            </a:r>
            <a:endParaRPr lang="en-GB" altLang="en-US" sz="1400" dirty="0"/>
          </a:p>
        </p:txBody>
      </p:sp>
      <p:pic>
        <p:nvPicPr>
          <p:cNvPr id="45076" name="Picture 10" descr="Mark Lowcock"/>
          <p:cNvPicPr>
            <a:picLocks noChangeAspect="1" noChangeArrowheads="1"/>
          </p:cNvPicPr>
          <p:nvPr/>
        </p:nvPicPr>
        <p:blipFill>
          <a:blip r:embed="rId3">
            <a:extLst>
              <a:ext uri="{28A0092B-C50C-407E-A947-70E740481C1C}">
                <a14:useLocalDpi xmlns:a14="http://schemas.microsoft.com/office/drawing/2010/main" val="0"/>
              </a:ext>
            </a:extLst>
          </a:blip>
          <a:srcRect l="5194" r="1596"/>
          <a:stretch>
            <a:fillRect/>
          </a:stretch>
        </p:blipFill>
        <p:spPr bwMode="auto">
          <a:xfrm>
            <a:off x="6365874" y="4249810"/>
            <a:ext cx="1851819" cy="128768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5077" name="TextBox 12"/>
          <p:cNvSpPr txBox="1">
            <a:spLocks noChangeArrowheads="1"/>
          </p:cNvSpPr>
          <p:nvPr/>
        </p:nvSpPr>
        <p:spPr bwMode="auto">
          <a:xfrm>
            <a:off x="6175375" y="5662613"/>
            <a:ext cx="40846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r>
              <a:rPr lang="en-GB" altLang="en-US" sz="1400" b="1" dirty="0">
                <a:latin typeface="Calibri" pitchFamily="34" charset="0"/>
                <a:cs typeface="Calibri" pitchFamily="34" charset="0"/>
              </a:rPr>
              <a:t>Permanent Secretary</a:t>
            </a:r>
          </a:p>
          <a:p>
            <a:pPr eaLnBrk="1" hangingPunct="1">
              <a:spcBef>
                <a:spcPct val="0"/>
              </a:spcBef>
              <a:buFontTx/>
              <a:buNone/>
            </a:pPr>
            <a:r>
              <a:rPr lang="en-GB" altLang="en-US" sz="1400" dirty="0">
                <a:latin typeface="Calibri" pitchFamily="34" charset="0"/>
                <a:cs typeface="Calibri" pitchFamily="34" charset="0"/>
              </a:rPr>
              <a:t>Mark </a:t>
            </a:r>
            <a:r>
              <a:rPr lang="en-GB" altLang="en-US" sz="1400" dirty="0" err="1">
                <a:latin typeface="Calibri" pitchFamily="34" charset="0"/>
                <a:cs typeface="Calibri" pitchFamily="34" charset="0"/>
              </a:rPr>
              <a:t>Lowcock</a:t>
            </a:r>
            <a:endParaRPr lang="en-GB" altLang="en-US" sz="1400" dirty="0">
              <a:latin typeface="Calibri" pitchFamily="34" charset="0"/>
              <a:cs typeface="Calibri" pitchFamily="34" charset="0"/>
            </a:endParaRPr>
          </a:p>
        </p:txBody>
      </p:sp>
      <p:grpSp>
        <p:nvGrpSpPr>
          <p:cNvPr id="45078" name="Group 12"/>
          <p:cNvGrpSpPr>
            <a:grpSpLocks/>
          </p:cNvGrpSpPr>
          <p:nvPr/>
        </p:nvGrpSpPr>
        <p:grpSpPr bwMode="auto">
          <a:xfrm>
            <a:off x="179388" y="58738"/>
            <a:ext cx="8964612" cy="865187"/>
            <a:chOff x="113" y="37"/>
            <a:chExt cx="5647" cy="545"/>
          </a:xfrm>
        </p:grpSpPr>
        <p:sp>
          <p:nvSpPr>
            <p:cNvPr id="45081"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45082"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45083"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84"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TextBox 8"/>
          <p:cNvSpPr txBox="1">
            <a:spLocks noChangeArrowheads="1"/>
          </p:cNvSpPr>
          <p:nvPr/>
        </p:nvSpPr>
        <p:spPr bwMode="auto">
          <a:xfrm>
            <a:off x="3212420" y="5653769"/>
            <a:ext cx="316706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r>
              <a:rPr lang="en-GB" altLang="en-US" sz="1400" b="1" dirty="0" smtClean="0">
                <a:latin typeface="Calibri" pitchFamily="34" charset="0"/>
                <a:cs typeface="Calibri" pitchFamily="34" charset="0"/>
              </a:rPr>
              <a:t>Parliamentary Under</a:t>
            </a:r>
          </a:p>
          <a:p>
            <a:pPr eaLnBrk="1" hangingPunct="1">
              <a:spcBef>
                <a:spcPct val="0"/>
              </a:spcBef>
              <a:buFontTx/>
              <a:buNone/>
            </a:pPr>
            <a:r>
              <a:rPr lang="en-GB" altLang="en-US" sz="1400" b="1" dirty="0" smtClean="0">
                <a:latin typeface="Calibri" pitchFamily="34" charset="0"/>
                <a:cs typeface="Calibri" pitchFamily="34" charset="0"/>
              </a:rPr>
              <a:t>Secretary of State</a:t>
            </a:r>
            <a:endParaRPr lang="en-GB" altLang="en-US" sz="1400" b="1" dirty="0">
              <a:latin typeface="Calibri" pitchFamily="34" charset="0"/>
              <a:cs typeface="Calibri" pitchFamily="34" charset="0"/>
            </a:endParaRPr>
          </a:p>
          <a:p>
            <a:pPr eaLnBrk="1" hangingPunct="1">
              <a:spcBef>
                <a:spcPct val="0"/>
              </a:spcBef>
              <a:buFontTx/>
              <a:buNone/>
            </a:pPr>
            <a:r>
              <a:rPr lang="en-GB" altLang="en-US" sz="1400" dirty="0" smtClean="0">
                <a:latin typeface="Calibri" pitchFamily="34" charset="0"/>
                <a:cs typeface="Calibri" pitchFamily="34" charset="0"/>
              </a:rPr>
              <a:t>Nick Hurd MP</a:t>
            </a:r>
            <a:endParaRPr lang="en-GB" altLang="en-US" sz="1400" dirty="0">
              <a:latin typeface="Calibri" pitchFamily="34" charset="0"/>
              <a:cs typeface="Calibri" pitchFamily="34" charset="0"/>
            </a:endParaRP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07904" y="1463626"/>
            <a:ext cx="1975104" cy="1280160"/>
          </a:xfrm>
          <a:prstGeom prst="rect">
            <a:avLst/>
          </a:prstGeom>
          <a:ln>
            <a:solidFill>
              <a:schemeClr val="accent1">
                <a:shade val="50000"/>
              </a:schemeClr>
            </a:solidFill>
          </a:ln>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7342" y="4266645"/>
            <a:ext cx="2055789" cy="1332456"/>
          </a:xfrm>
          <a:prstGeom prst="rect">
            <a:avLst/>
          </a:prstGeom>
          <a:ln>
            <a:solidFill>
              <a:srgbClr val="000000"/>
            </a:solidFill>
          </a:ln>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313" y="1463626"/>
            <a:ext cx="1975104" cy="1280160"/>
          </a:xfrm>
          <a:prstGeom prst="rect">
            <a:avLst/>
          </a:prstGeom>
          <a:ln>
            <a:solidFill>
              <a:schemeClr val="accent1">
                <a:shade val="50000"/>
              </a:schemeClr>
            </a:solidFill>
          </a:ln>
        </p:spPr>
      </p:pic>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14405" y="4195037"/>
            <a:ext cx="2164080" cy="1348740"/>
          </a:xfrm>
          <a:prstGeom prst="rect">
            <a:avLst/>
          </a:prstGeom>
        </p:spPr>
      </p:pic>
    </p:spTree>
    <p:extLst>
      <p:ext uri="{BB962C8B-B14F-4D97-AF65-F5344CB8AC3E}">
        <p14:creationId xmlns:p14="http://schemas.microsoft.com/office/powerpoint/2010/main" val="14414004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250825" y="692696"/>
            <a:ext cx="8456613" cy="841376"/>
          </a:xfrm>
        </p:spPr>
        <p:txBody>
          <a:bodyPr>
            <a:normAutofit/>
          </a:bodyPr>
          <a:lstStyle/>
          <a:p>
            <a:pPr algn="ctr"/>
            <a:r>
              <a:rPr lang="en-GB" altLang="en-US" b="1" dirty="0" smtClean="0">
                <a:latin typeface="Calibri" pitchFamily="34" charset="0"/>
                <a:cs typeface="Calibri" pitchFamily="34" charset="0"/>
              </a:rPr>
              <a:t>New UK Aid Strategy (1) </a:t>
            </a:r>
          </a:p>
        </p:txBody>
      </p:sp>
      <p:sp>
        <p:nvSpPr>
          <p:cNvPr id="3" name="Content Placeholder 2"/>
          <p:cNvSpPr>
            <a:spLocks noGrp="1"/>
          </p:cNvSpPr>
          <p:nvPr>
            <p:ph idx="1"/>
          </p:nvPr>
        </p:nvSpPr>
        <p:spPr>
          <a:xfrm>
            <a:off x="395287" y="1628800"/>
            <a:ext cx="8620125" cy="4824413"/>
          </a:xfrm>
        </p:spPr>
        <p:txBody>
          <a:bodyPr>
            <a:normAutofit/>
          </a:bodyPr>
          <a:lstStyle/>
          <a:p>
            <a:pPr>
              <a:lnSpc>
                <a:spcPct val="120000"/>
              </a:lnSpc>
              <a:defRPr/>
            </a:pPr>
            <a:r>
              <a:rPr lang="en-GB" sz="2600" dirty="0" smtClean="0">
                <a:cs typeface="Calibri" panose="020F0502020204030204" pitchFamily="34" charset="0"/>
              </a:rPr>
              <a:t>Published in November 2015</a:t>
            </a:r>
          </a:p>
          <a:p>
            <a:pPr>
              <a:lnSpc>
                <a:spcPct val="120000"/>
              </a:lnSpc>
              <a:defRPr/>
            </a:pPr>
            <a:r>
              <a:rPr lang="en-GB" sz="2600" dirty="0" smtClean="0">
                <a:cs typeface="Calibri" panose="020F0502020204030204" pitchFamily="34" charset="0"/>
              </a:rPr>
              <a:t>UK </a:t>
            </a:r>
            <a:r>
              <a:rPr lang="en-GB" sz="2600" dirty="0">
                <a:cs typeface="Calibri" panose="020F0502020204030204" pitchFamily="34" charset="0"/>
              </a:rPr>
              <a:t>as </a:t>
            </a:r>
            <a:r>
              <a:rPr lang="en-GB" sz="2600" dirty="0" smtClean="0">
                <a:cs typeface="Calibri" panose="020F0502020204030204" pitchFamily="34" charset="0"/>
              </a:rPr>
              <a:t>an international </a:t>
            </a:r>
            <a:r>
              <a:rPr lang="en-GB" sz="2600" dirty="0">
                <a:cs typeface="Calibri" panose="020F0502020204030204" pitchFamily="34" charset="0"/>
              </a:rPr>
              <a:t>player and </a:t>
            </a:r>
            <a:r>
              <a:rPr lang="en-GB" sz="2600" dirty="0" smtClean="0">
                <a:cs typeface="Calibri" panose="020F0502020204030204" pitchFamily="34" charset="0"/>
              </a:rPr>
              <a:t>leader</a:t>
            </a:r>
            <a:endParaRPr lang="en-GB" sz="2600" dirty="0">
              <a:cs typeface="Calibri" panose="020F0502020204030204" pitchFamily="34" charset="0"/>
            </a:endParaRPr>
          </a:p>
          <a:p>
            <a:pPr>
              <a:lnSpc>
                <a:spcPct val="120000"/>
              </a:lnSpc>
              <a:defRPr/>
            </a:pPr>
            <a:r>
              <a:rPr lang="en-GB" sz="2600" dirty="0">
                <a:cs typeface="Calibri" panose="020F0502020204030204" pitchFamily="34" charset="0"/>
              </a:rPr>
              <a:t>T</a:t>
            </a:r>
            <a:r>
              <a:rPr lang="en-GB" sz="2600" dirty="0" smtClean="0">
                <a:cs typeface="Calibri" panose="020F0502020204030204" pitchFamily="34" charset="0"/>
              </a:rPr>
              <a:t>he right thing to do - morally, socially</a:t>
            </a:r>
          </a:p>
          <a:p>
            <a:pPr>
              <a:lnSpc>
                <a:spcPct val="120000"/>
              </a:lnSpc>
              <a:defRPr/>
            </a:pPr>
            <a:r>
              <a:rPr lang="en-GB" sz="2600" dirty="0">
                <a:cs typeface="Calibri" panose="020F0502020204030204" pitchFamily="34" charset="0"/>
              </a:rPr>
              <a:t>T</a:t>
            </a:r>
            <a:r>
              <a:rPr lang="en-GB" sz="2600" dirty="0" smtClean="0">
                <a:cs typeface="Calibri" panose="020F0502020204030204" pitchFamily="34" charset="0"/>
              </a:rPr>
              <a:t>he smart thing to do - in our national interest</a:t>
            </a:r>
          </a:p>
          <a:p>
            <a:pPr>
              <a:lnSpc>
                <a:spcPct val="120000"/>
              </a:lnSpc>
              <a:defRPr/>
            </a:pPr>
            <a:r>
              <a:rPr lang="en-GB" sz="2600" dirty="0" smtClean="0">
                <a:cs typeface="Calibri" panose="020F0502020204030204" pitchFamily="34" charset="0"/>
              </a:rPr>
              <a:t>Committed to </a:t>
            </a:r>
            <a:r>
              <a:rPr lang="en-GB" sz="2600" dirty="0" err="1" smtClean="0">
                <a:cs typeface="Calibri" panose="020F0502020204030204" pitchFamily="34" charset="0"/>
              </a:rPr>
              <a:t>acheieve</a:t>
            </a:r>
            <a:r>
              <a:rPr lang="en-GB" sz="2600" dirty="0" smtClean="0">
                <a:cs typeface="Calibri" panose="020F0502020204030204" pitchFamily="34" charset="0"/>
              </a:rPr>
              <a:t> the </a:t>
            </a:r>
            <a:r>
              <a:rPr lang="en-GB" sz="2600" dirty="0">
                <a:cs typeface="Calibri" panose="020F0502020204030204" pitchFamily="34" charset="0"/>
              </a:rPr>
              <a:t>government’s target of spending 0.7% of gross national income (</a:t>
            </a:r>
            <a:r>
              <a:rPr lang="en-GB" sz="2600" dirty="0" err="1" smtClean="0">
                <a:cs typeface="Calibri" panose="020F0502020204030204" pitchFamily="34" charset="0"/>
              </a:rPr>
              <a:t>GNI</a:t>
            </a:r>
            <a:r>
              <a:rPr lang="en-GB" sz="2600" dirty="0" smtClean="0">
                <a:cs typeface="Calibri" panose="020F0502020204030204" pitchFamily="34" charset="0"/>
              </a:rPr>
              <a:t>) on Aid.  </a:t>
            </a:r>
          </a:p>
          <a:p>
            <a:pPr>
              <a:lnSpc>
                <a:spcPct val="120000"/>
              </a:lnSpc>
              <a:defRPr/>
            </a:pPr>
            <a:r>
              <a:rPr lang="en-GB" sz="2600" dirty="0" smtClean="0">
                <a:cs typeface="Calibri" panose="020F0502020204030204" pitchFamily="34" charset="0"/>
              </a:rPr>
              <a:t>Greater </a:t>
            </a:r>
            <a:r>
              <a:rPr lang="en-GB" sz="2600" dirty="0">
                <a:cs typeface="Calibri" panose="020F0502020204030204" pitchFamily="34" charset="0"/>
              </a:rPr>
              <a:t>focus on results-based aid, accountability and transparency.</a:t>
            </a:r>
          </a:p>
          <a:p>
            <a:pPr>
              <a:lnSpc>
                <a:spcPct val="120000"/>
              </a:lnSpc>
              <a:defRPr/>
            </a:pPr>
            <a:endParaRPr lang="en-GB" sz="9600" dirty="0" smtClean="0">
              <a:latin typeface="Calibri" pitchFamily="34" charset="0"/>
              <a:cs typeface="Calibri" pitchFamily="34" charset="0"/>
            </a:endParaRPr>
          </a:p>
          <a:p>
            <a:pPr>
              <a:lnSpc>
                <a:spcPct val="150000"/>
              </a:lnSpc>
              <a:defRPr/>
            </a:pPr>
            <a:endParaRPr lang="en-GB" sz="2900" dirty="0" smtClean="0">
              <a:latin typeface="Calibri" pitchFamily="34" charset="0"/>
              <a:cs typeface="Calibri" pitchFamily="34" charset="0"/>
            </a:endParaRPr>
          </a:p>
          <a:p>
            <a:pPr lvl="1">
              <a:lnSpc>
                <a:spcPct val="150000"/>
              </a:lnSpc>
              <a:defRPr/>
            </a:pPr>
            <a:endParaRPr lang="en-GB" sz="2200" dirty="0">
              <a:latin typeface="Calibri" pitchFamily="34" charset="0"/>
              <a:cs typeface="Calibri" pitchFamily="34" charset="0"/>
            </a:endParaRPr>
          </a:p>
          <a:p>
            <a:pPr lvl="1">
              <a:lnSpc>
                <a:spcPct val="150000"/>
              </a:lnSpc>
              <a:defRPr/>
            </a:pPr>
            <a:endParaRPr lang="en-GB" dirty="0" smtClean="0"/>
          </a:p>
        </p:txBody>
      </p:sp>
      <p:grpSp>
        <p:nvGrpSpPr>
          <p:cNvPr id="48132" name="Group 12"/>
          <p:cNvGrpSpPr>
            <a:grpSpLocks/>
          </p:cNvGrpSpPr>
          <p:nvPr/>
        </p:nvGrpSpPr>
        <p:grpSpPr bwMode="auto">
          <a:xfrm>
            <a:off x="179388" y="58738"/>
            <a:ext cx="8964612" cy="865187"/>
            <a:chOff x="113" y="37"/>
            <a:chExt cx="5647" cy="545"/>
          </a:xfrm>
        </p:grpSpPr>
        <p:sp>
          <p:nvSpPr>
            <p:cNvPr id="48133"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48134"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48135"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6"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842844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250825" y="692696"/>
            <a:ext cx="8456613" cy="841376"/>
          </a:xfrm>
        </p:spPr>
        <p:txBody>
          <a:bodyPr>
            <a:normAutofit/>
          </a:bodyPr>
          <a:lstStyle/>
          <a:p>
            <a:pPr algn="ctr"/>
            <a:r>
              <a:rPr lang="en-GB" altLang="en-US" b="1" dirty="0" smtClean="0">
                <a:latin typeface="Calibri" pitchFamily="34" charset="0"/>
                <a:cs typeface="Calibri" pitchFamily="34" charset="0"/>
              </a:rPr>
              <a:t>New UK Aid Strategy (2) </a:t>
            </a:r>
          </a:p>
        </p:txBody>
      </p:sp>
      <p:sp>
        <p:nvSpPr>
          <p:cNvPr id="3" name="Content Placeholder 2"/>
          <p:cNvSpPr>
            <a:spLocks noGrp="1"/>
          </p:cNvSpPr>
          <p:nvPr>
            <p:ph idx="1"/>
          </p:nvPr>
        </p:nvSpPr>
        <p:spPr>
          <a:xfrm>
            <a:off x="385308" y="1484784"/>
            <a:ext cx="8620125" cy="4824413"/>
          </a:xfrm>
        </p:spPr>
        <p:txBody>
          <a:bodyPr>
            <a:normAutofit/>
          </a:bodyPr>
          <a:lstStyle/>
          <a:p>
            <a:pPr marL="0" indent="0">
              <a:lnSpc>
                <a:spcPct val="150000"/>
              </a:lnSpc>
              <a:buNone/>
              <a:defRPr/>
            </a:pPr>
            <a:r>
              <a:rPr lang="en-GB" sz="2400" dirty="0" smtClean="0">
                <a:latin typeface="Calibri" pitchFamily="34" charset="0"/>
                <a:cs typeface="Calibri" pitchFamily="34" charset="0"/>
              </a:rPr>
              <a:t>Four objectives:</a:t>
            </a:r>
          </a:p>
          <a:p>
            <a:pPr marL="514350" indent="-514350">
              <a:lnSpc>
                <a:spcPct val="110000"/>
              </a:lnSpc>
              <a:buFont typeface="+mj-lt"/>
              <a:buAutoNum type="arabicPeriod"/>
              <a:defRPr/>
            </a:pPr>
            <a:r>
              <a:rPr lang="en-GB" sz="2400" dirty="0" smtClean="0">
                <a:cs typeface="Calibri" pitchFamily="34" charset="0"/>
              </a:rPr>
              <a:t>Strengthening global peace, security and governance</a:t>
            </a:r>
          </a:p>
          <a:p>
            <a:pPr marL="514350" indent="-514350">
              <a:lnSpc>
                <a:spcPct val="110000"/>
              </a:lnSpc>
              <a:buFont typeface="+mj-lt"/>
              <a:buAutoNum type="arabicPeriod"/>
              <a:defRPr/>
            </a:pPr>
            <a:r>
              <a:rPr lang="en-GB" sz="2400" dirty="0" smtClean="0">
                <a:cs typeface="Calibri" pitchFamily="34" charset="0"/>
              </a:rPr>
              <a:t>Strengthening resilience and response to crises</a:t>
            </a:r>
          </a:p>
          <a:p>
            <a:pPr marL="514350" indent="-514350">
              <a:lnSpc>
                <a:spcPct val="110000"/>
              </a:lnSpc>
              <a:buFont typeface="+mj-lt"/>
              <a:buAutoNum type="arabicPeriod"/>
              <a:defRPr/>
            </a:pPr>
            <a:r>
              <a:rPr lang="en-GB" sz="2400" dirty="0" smtClean="0">
                <a:cs typeface="Calibri" pitchFamily="34" charset="0"/>
              </a:rPr>
              <a:t>Promoting global prosperity</a:t>
            </a:r>
          </a:p>
          <a:p>
            <a:pPr marL="514350" indent="-514350">
              <a:lnSpc>
                <a:spcPct val="110000"/>
              </a:lnSpc>
              <a:buFont typeface="+mj-lt"/>
              <a:buAutoNum type="arabicPeriod"/>
              <a:defRPr/>
            </a:pPr>
            <a:r>
              <a:rPr lang="en-GB" sz="2400" dirty="0" smtClean="0">
                <a:cs typeface="Calibri" pitchFamily="34" charset="0"/>
              </a:rPr>
              <a:t>Tackling extreme poverty and helping the world’s most vulnerable</a:t>
            </a:r>
          </a:p>
          <a:p>
            <a:pPr marL="0" indent="0">
              <a:buNone/>
              <a:defRPr/>
            </a:pPr>
            <a:endParaRPr lang="en-GB" sz="2400" dirty="0" smtClean="0">
              <a:cs typeface="Calibri" pitchFamily="34" charset="0"/>
            </a:endParaRPr>
          </a:p>
          <a:p>
            <a:pPr marL="0" indent="0">
              <a:buNone/>
              <a:defRPr/>
            </a:pPr>
            <a:r>
              <a:rPr lang="en-GB" sz="2400" dirty="0" smtClean="0">
                <a:cs typeface="Calibri" pitchFamily="34" charset="0"/>
              </a:rPr>
              <a:t>Ensuring Value For Money, leveraging UK expertise and meeting International Development Act and OECD rules on Overseas Development Assistance (ODA).</a:t>
            </a:r>
          </a:p>
          <a:p>
            <a:pPr marL="514350" indent="-514350">
              <a:lnSpc>
                <a:spcPct val="150000"/>
              </a:lnSpc>
              <a:buFont typeface="+mj-lt"/>
              <a:buAutoNum type="arabicPeriod"/>
              <a:defRPr/>
            </a:pPr>
            <a:endParaRPr lang="en-GB" sz="2900" dirty="0" smtClean="0">
              <a:latin typeface="Calibri" pitchFamily="34" charset="0"/>
              <a:cs typeface="Calibri" pitchFamily="34" charset="0"/>
            </a:endParaRPr>
          </a:p>
          <a:p>
            <a:pPr>
              <a:lnSpc>
                <a:spcPct val="150000"/>
              </a:lnSpc>
              <a:defRPr/>
            </a:pPr>
            <a:endParaRPr lang="en-GB" sz="2900" dirty="0" smtClean="0">
              <a:latin typeface="Calibri" pitchFamily="34" charset="0"/>
              <a:cs typeface="Calibri" pitchFamily="34" charset="0"/>
            </a:endParaRPr>
          </a:p>
          <a:p>
            <a:pPr>
              <a:lnSpc>
                <a:spcPct val="150000"/>
              </a:lnSpc>
              <a:defRPr/>
            </a:pPr>
            <a:endParaRPr lang="en-GB" sz="2900" dirty="0" smtClean="0">
              <a:latin typeface="Calibri" pitchFamily="34" charset="0"/>
              <a:cs typeface="Calibri" pitchFamily="34" charset="0"/>
            </a:endParaRPr>
          </a:p>
          <a:p>
            <a:pPr lvl="1">
              <a:lnSpc>
                <a:spcPct val="150000"/>
              </a:lnSpc>
              <a:defRPr/>
            </a:pPr>
            <a:endParaRPr lang="en-GB" sz="2200" dirty="0">
              <a:latin typeface="Calibri" pitchFamily="34" charset="0"/>
              <a:cs typeface="Calibri" pitchFamily="34" charset="0"/>
            </a:endParaRPr>
          </a:p>
          <a:p>
            <a:pPr lvl="1">
              <a:lnSpc>
                <a:spcPct val="150000"/>
              </a:lnSpc>
              <a:defRPr/>
            </a:pPr>
            <a:endParaRPr lang="en-GB" dirty="0" smtClean="0"/>
          </a:p>
        </p:txBody>
      </p:sp>
      <p:grpSp>
        <p:nvGrpSpPr>
          <p:cNvPr id="48132" name="Group 12"/>
          <p:cNvGrpSpPr>
            <a:grpSpLocks/>
          </p:cNvGrpSpPr>
          <p:nvPr/>
        </p:nvGrpSpPr>
        <p:grpSpPr bwMode="auto">
          <a:xfrm>
            <a:off x="179388" y="58738"/>
            <a:ext cx="8964612" cy="865187"/>
            <a:chOff x="113" y="37"/>
            <a:chExt cx="5647" cy="545"/>
          </a:xfrm>
        </p:grpSpPr>
        <p:sp>
          <p:nvSpPr>
            <p:cNvPr id="48133"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48134"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48135"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6"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360042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75576" y="1556792"/>
            <a:ext cx="8836024" cy="5112568"/>
          </a:xfrm>
        </p:spPr>
        <p:txBody>
          <a:bodyPr>
            <a:normAutofit fontScale="25000" lnSpcReduction="20000"/>
          </a:bodyPr>
          <a:lstStyle/>
          <a:p>
            <a:pPr lvl="0">
              <a:lnSpc>
                <a:spcPct val="120000"/>
              </a:lnSpc>
            </a:pPr>
            <a:r>
              <a:rPr lang="en-GB" sz="8600" dirty="0" smtClean="0"/>
              <a:t>The Spending Review, November 2015, set </a:t>
            </a:r>
            <a:r>
              <a:rPr lang="en-GB" sz="8600" dirty="0"/>
              <a:t>out that the UK ODA budget will grow over the four-year period from around £12 billion in 2015/16 to over £15 billion in </a:t>
            </a:r>
            <a:r>
              <a:rPr lang="en-GB" sz="8600" dirty="0" smtClean="0"/>
              <a:t>2019/20.</a:t>
            </a:r>
          </a:p>
          <a:p>
            <a:pPr marL="0" lvl="0" indent="0">
              <a:lnSpc>
                <a:spcPct val="120000"/>
              </a:lnSpc>
              <a:buNone/>
            </a:pPr>
            <a:endParaRPr lang="en-GB" sz="8600" dirty="0" smtClean="0"/>
          </a:p>
          <a:p>
            <a:pPr lvl="0">
              <a:lnSpc>
                <a:spcPct val="120000"/>
              </a:lnSpc>
            </a:pPr>
            <a:r>
              <a:rPr lang="en-GB" sz="8600" dirty="0" smtClean="0"/>
              <a:t>DFID </a:t>
            </a:r>
            <a:r>
              <a:rPr lang="en-GB" sz="8600" dirty="0"/>
              <a:t>will spend around 72% of the ODA between </a:t>
            </a:r>
            <a:r>
              <a:rPr lang="en-GB" sz="8600" dirty="0" smtClean="0"/>
              <a:t>15/16-19/20</a:t>
            </a:r>
          </a:p>
          <a:p>
            <a:pPr lvl="0">
              <a:lnSpc>
                <a:spcPct val="120000"/>
              </a:lnSpc>
            </a:pPr>
            <a:endParaRPr lang="en-GB" sz="8600" dirty="0" smtClean="0"/>
          </a:p>
          <a:p>
            <a:pPr lvl="0">
              <a:lnSpc>
                <a:spcPct val="120000"/>
              </a:lnSpc>
            </a:pPr>
            <a:r>
              <a:rPr lang="en-GB" sz="8600" dirty="0" smtClean="0"/>
              <a:t>Other </a:t>
            </a:r>
            <a:r>
              <a:rPr lang="en-GB" sz="8600" dirty="0"/>
              <a:t>government departments such as BIS, </a:t>
            </a:r>
            <a:r>
              <a:rPr lang="en-GB" sz="8600" dirty="0" err="1"/>
              <a:t>FCO</a:t>
            </a:r>
            <a:r>
              <a:rPr lang="en-GB" sz="8600" dirty="0"/>
              <a:t> and </a:t>
            </a:r>
            <a:r>
              <a:rPr lang="en-GB" sz="8600" dirty="0" err="1"/>
              <a:t>DoH</a:t>
            </a:r>
            <a:r>
              <a:rPr lang="en-GB" sz="8600" dirty="0"/>
              <a:t> have been allocated 16% of ODA available over the 4 </a:t>
            </a:r>
            <a:r>
              <a:rPr lang="en-GB" sz="8600" dirty="0" smtClean="0"/>
              <a:t>years.  </a:t>
            </a:r>
          </a:p>
          <a:p>
            <a:pPr lvl="0">
              <a:lnSpc>
                <a:spcPct val="120000"/>
              </a:lnSpc>
            </a:pPr>
            <a:endParaRPr lang="en-GB" sz="8600" dirty="0" smtClean="0"/>
          </a:p>
          <a:p>
            <a:pPr lvl="0">
              <a:lnSpc>
                <a:spcPct val="120000"/>
              </a:lnSpc>
            </a:pPr>
            <a:r>
              <a:rPr lang="en-GB" sz="8600" dirty="0" smtClean="0"/>
              <a:t>Balance is allocated to joint cross-government funds</a:t>
            </a:r>
            <a:endParaRPr lang="en-GB" sz="8600" dirty="0"/>
          </a:p>
          <a:p>
            <a:pPr lvl="0"/>
            <a:endParaRPr lang="en-GB" sz="7000" dirty="0"/>
          </a:p>
          <a:p>
            <a:pPr marL="0" indent="0">
              <a:buFontTx/>
              <a:buNone/>
              <a:defRPr/>
            </a:pPr>
            <a:r>
              <a:rPr lang="en-GB" sz="7000" dirty="0">
                <a:ea typeface="Verdana" panose="020B0604030504040204" pitchFamily="34" charset="0"/>
                <a:cs typeface="Verdana" panose="020B0604030504040204" pitchFamily="34" charset="0"/>
              </a:rPr>
              <a:t> </a:t>
            </a:r>
          </a:p>
          <a:p>
            <a:pPr>
              <a:defRPr/>
            </a:pPr>
            <a:endParaRPr lang="en-GB"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7"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202" name="Title 1"/>
          <p:cNvSpPr>
            <a:spLocks noGrp="1"/>
          </p:cNvSpPr>
          <p:nvPr>
            <p:ph type="title"/>
          </p:nvPr>
        </p:nvSpPr>
        <p:spPr/>
        <p:txBody>
          <a:bodyPr>
            <a:normAutofit/>
          </a:bodyPr>
          <a:lstStyle/>
          <a:p>
            <a:r>
              <a:rPr lang="en-GB" altLang="en-US" b="1" dirty="0" smtClean="0"/>
              <a:t>Spending Review</a:t>
            </a:r>
          </a:p>
        </p:txBody>
      </p:sp>
    </p:spTree>
    <p:extLst>
      <p:ext uri="{BB962C8B-B14F-4D97-AF65-F5344CB8AC3E}">
        <p14:creationId xmlns:p14="http://schemas.microsoft.com/office/powerpoint/2010/main" val="17340528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79388" y="1457400"/>
            <a:ext cx="8496300" cy="5400600"/>
          </a:xfrm>
        </p:spPr>
        <p:txBody>
          <a:bodyPr>
            <a:noAutofit/>
          </a:bodyPr>
          <a:lstStyle/>
          <a:p>
            <a:r>
              <a:rPr lang="en-GB" sz="2400" b="1" dirty="0" smtClean="0"/>
              <a:t>Health </a:t>
            </a:r>
            <a:r>
              <a:rPr lang="en-GB" sz="2400" dirty="0"/>
              <a:t>– ensured that 5.1 million births took place safely with the help of nurses, midwives or doctors </a:t>
            </a:r>
            <a:endParaRPr lang="en-GB" sz="2400" i="1" dirty="0" smtClean="0"/>
          </a:p>
          <a:p>
            <a:r>
              <a:rPr lang="en-GB" sz="2400" b="1" dirty="0" smtClean="0"/>
              <a:t>Water</a:t>
            </a:r>
            <a:r>
              <a:rPr lang="en-GB" sz="2400" b="1" dirty="0"/>
              <a:t>, sanitation and hygiene </a:t>
            </a:r>
            <a:r>
              <a:rPr lang="en-GB" sz="2400" dirty="0"/>
              <a:t>– supported 62.9 million people, of whom 22.2 million were women, to access clean water, better sanitation or improved hygiene conditions through DFID’s WASH programmes </a:t>
            </a:r>
            <a:endParaRPr lang="en-GB" sz="2400" dirty="0" smtClean="0"/>
          </a:p>
          <a:p>
            <a:r>
              <a:rPr lang="en-GB" sz="2400" b="1" dirty="0" smtClean="0"/>
              <a:t>Humanitarian </a:t>
            </a:r>
            <a:r>
              <a:rPr lang="en-GB" sz="2400" b="1" dirty="0"/>
              <a:t>assistance </a:t>
            </a:r>
            <a:r>
              <a:rPr lang="en-GB" sz="2400" dirty="0"/>
              <a:t>– reached over 13 million people with emergency food assistance, including 5.5 million women or girls, through DFID support</a:t>
            </a:r>
          </a:p>
          <a:p>
            <a:r>
              <a:rPr lang="en-GB" sz="2400" b="1" dirty="0"/>
              <a:t>Governance and security </a:t>
            </a:r>
            <a:r>
              <a:rPr lang="en-GB" sz="2400" dirty="0"/>
              <a:t>– supported freer and fairer elections in 13 countries in which 162.1 million people voted </a:t>
            </a:r>
            <a:endParaRPr lang="en-GB" sz="2400" dirty="0" smtClean="0"/>
          </a:p>
          <a:p>
            <a:r>
              <a:rPr lang="en-GB" sz="2400" b="1" dirty="0" smtClean="0"/>
              <a:t>Climate </a:t>
            </a:r>
            <a:r>
              <a:rPr lang="en-GB" sz="2400" b="1" dirty="0"/>
              <a:t>change </a:t>
            </a:r>
            <a:r>
              <a:rPr lang="en-GB" sz="2400" dirty="0"/>
              <a:t>– supported 14.6 million people to cope with the effects of climate change</a:t>
            </a:r>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7"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202" name="Title 1"/>
          <p:cNvSpPr>
            <a:spLocks noGrp="1"/>
          </p:cNvSpPr>
          <p:nvPr>
            <p:ph type="title"/>
          </p:nvPr>
        </p:nvSpPr>
        <p:spPr>
          <a:xfrm>
            <a:off x="391318" y="468420"/>
            <a:ext cx="8229600" cy="1143000"/>
          </a:xfrm>
        </p:spPr>
        <p:txBody>
          <a:bodyPr>
            <a:normAutofit/>
          </a:bodyPr>
          <a:lstStyle/>
          <a:p>
            <a:r>
              <a:rPr lang="en-GB" altLang="en-US" b="1" dirty="0" smtClean="0"/>
              <a:t>Results - four years to March 15</a:t>
            </a:r>
          </a:p>
        </p:txBody>
      </p:sp>
    </p:spTree>
    <p:extLst>
      <p:ext uri="{BB962C8B-B14F-4D97-AF65-F5344CB8AC3E}">
        <p14:creationId xmlns:p14="http://schemas.microsoft.com/office/powerpoint/2010/main" val="9811279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0" y="1058458"/>
            <a:ext cx="9144000" cy="5250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763382" y="2348880"/>
            <a:ext cx="7957319" cy="1477328"/>
          </a:xfrm>
          <a:prstGeom prst="rect">
            <a:avLst/>
          </a:prstGeom>
          <a:noFill/>
        </p:spPr>
        <p:txBody>
          <a:bodyPr wrap="square" rtlCol="0">
            <a:spAutoFit/>
          </a:bodyPr>
          <a:lstStyle/>
          <a:p>
            <a:pPr lvl="0"/>
            <a:r>
              <a:rPr lang="en-GB" sz="3600" dirty="0"/>
              <a:t>75% of our humanitarian assistance goes to conflict-affected areas</a:t>
            </a:r>
          </a:p>
          <a:p>
            <a:endParaRPr lang="en-GB" dirty="0">
              <a:solidFill>
                <a:srgbClr val="000000"/>
              </a:solidFill>
              <a:latin typeface="Calibri" pitchFamily="34" charset="0"/>
              <a:cs typeface="Calibri" pitchFamily="34" charset="0"/>
            </a:endParaRPr>
          </a:p>
        </p:txBody>
      </p:sp>
      <p:grpSp>
        <p:nvGrpSpPr>
          <p:cNvPr id="6" name="Group 12"/>
          <p:cNvGrpSpPr>
            <a:grpSpLocks/>
          </p:cNvGrpSpPr>
          <p:nvPr/>
        </p:nvGrpSpPr>
        <p:grpSpPr bwMode="auto">
          <a:xfrm>
            <a:off x="179388" y="58738"/>
            <a:ext cx="8964612" cy="865187"/>
            <a:chOff x="113" y="37"/>
            <a:chExt cx="5647" cy="545"/>
          </a:xfrm>
        </p:grpSpPr>
        <p:sp>
          <p:nvSpPr>
            <p:cNvPr id="7"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8"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9"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3795223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GB" dirty="0"/>
          </a:p>
        </p:txBody>
      </p:sp>
      <p:pic>
        <p:nvPicPr>
          <p:cNvPr id="7170" name="Picture 2" descr="C:\Users\Julie-McIvor\AppData\Local\Microsoft\Windows\Temporary Internet Files\Content.Outlook\6UIIZNGB\8816843284_3b00e8b0e9_k (2).jpg"/>
          <p:cNvPicPr>
            <a:picLocks noChangeAspect="1" noChangeArrowheads="1"/>
          </p:cNvPicPr>
          <p:nvPr/>
        </p:nvPicPr>
        <p:blipFill rotWithShape="1">
          <a:blip r:embed="rId3" cstate="email">
            <a:lum bright="70000" contrast="-70000"/>
            <a:extLst>
              <a:ext uri="{28A0092B-C50C-407E-A947-70E740481C1C}">
                <a14:useLocalDpi xmlns:a14="http://schemas.microsoft.com/office/drawing/2010/main"/>
              </a:ext>
            </a:extLst>
          </a:blip>
          <a:srcRect t="708" b="-1"/>
          <a:stretch/>
        </p:blipFill>
        <p:spPr bwMode="auto">
          <a:xfrm>
            <a:off x="0" y="1019175"/>
            <a:ext cx="9144000" cy="524277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44591" y="1268760"/>
            <a:ext cx="7702275" cy="3939540"/>
          </a:xfrm>
          <a:prstGeom prst="rect">
            <a:avLst/>
          </a:prstGeom>
          <a:noFill/>
        </p:spPr>
        <p:txBody>
          <a:bodyPr wrap="square" rtlCol="0">
            <a:spAutoFit/>
          </a:bodyPr>
          <a:lstStyle/>
          <a:p>
            <a:pPr algn="just"/>
            <a:endParaRPr lang="en-GB" dirty="0" smtClean="0">
              <a:solidFill>
                <a:srgbClr val="000000"/>
              </a:solidFill>
              <a:latin typeface="Calibri" pitchFamily="34" charset="0"/>
              <a:cs typeface="Calibri" pitchFamily="34" charset="0"/>
            </a:endParaRPr>
          </a:p>
          <a:p>
            <a:pPr marL="285750" indent="-285750" algn="just">
              <a:buFontTx/>
              <a:buChar char="-"/>
            </a:pPr>
            <a:endParaRPr lang="en-GB" dirty="0" smtClean="0">
              <a:solidFill>
                <a:srgbClr val="000000"/>
              </a:solidFill>
              <a:latin typeface="Calibri" pitchFamily="34" charset="0"/>
              <a:cs typeface="Calibri" pitchFamily="34" charset="0"/>
            </a:endParaRPr>
          </a:p>
          <a:p>
            <a:pPr marL="285750" indent="-285750" algn="just">
              <a:buFontTx/>
              <a:buChar char="-"/>
            </a:pPr>
            <a:endParaRPr lang="en-GB" dirty="0" smtClean="0">
              <a:solidFill>
                <a:srgbClr val="000000"/>
              </a:solidFill>
              <a:latin typeface="Calibri" pitchFamily="34" charset="0"/>
              <a:cs typeface="Calibri" pitchFamily="34" charset="0"/>
            </a:endParaRPr>
          </a:p>
          <a:p>
            <a:pPr algn="just"/>
            <a:r>
              <a:rPr lang="en-GB" sz="3200" dirty="0" smtClean="0">
                <a:solidFill>
                  <a:srgbClr val="000000"/>
                </a:solidFill>
                <a:latin typeface="Calibri" pitchFamily="34" charset="0"/>
                <a:cs typeface="Calibri" pitchFamily="34" charset="0"/>
              </a:rPr>
              <a:t>Each </a:t>
            </a:r>
            <a:r>
              <a:rPr lang="en-GB" sz="3200" dirty="0">
                <a:solidFill>
                  <a:srgbClr val="000000"/>
                </a:solidFill>
                <a:latin typeface="Calibri" pitchFamily="34" charset="0"/>
                <a:cs typeface="Calibri" pitchFamily="34" charset="0"/>
              </a:rPr>
              <a:t>year, more than one third of a million women and girls die in pregnancy or childbirth. </a:t>
            </a:r>
            <a:r>
              <a:rPr lang="en-GB" sz="3200" dirty="0" smtClean="0">
                <a:solidFill>
                  <a:srgbClr val="000000"/>
                </a:solidFill>
                <a:latin typeface="Calibri" pitchFamily="34" charset="0"/>
                <a:cs typeface="Calibri" pitchFamily="34" charset="0"/>
              </a:rPr>
              <a:t>Some </a:t>
            </a:r>
            <a:r>
              <a:rPr lang="en-GB" sz="3200" dirty="0">
                <a:solidFill>
                  <a:srgbClr val="000000"/>
                </a:solidFill>
                <a:latin typeface="Calibri" pitchFamily="34" charset="0"/>
                <a:cs typeface="Calibri" pitchFamily="34" charset="0"/>
              </a:rPr>
              <a:t>60 million women give birth not in a health facility. </a:t>
            </a:r>
            <a:r>
              <a:rPr lang="en-GB" sz="3200" dirty="0" smtClean="0">
                <a:solidFill>
                  <a:srgbClr val="000000"/>
                </a:solidFill>
                <a:latin typeface="Calibri" pitchFamily="34" charset="0"/>
                <a:cs typeface="Calibri" pitchFamily="34" charset="0"/>
              </a:rPr>
              <a:t>50 </a:t>
            </a:r>
            <a:r>
              <a:rPr lang="en-GB" sz="3200" dirty="0">
                <a:solidFill>
                  <a:srgbClr val="000000"/>
                </a:solidFill>
                <a:latin typeface="Calibri" pitchFamily="34" charset="0"/>
                <a:cs typeface="Calibri" pitchFamily="34" charset="0"/>
              </a:rPr>
              <a:t>million of them give birth without skilled care.</a:t>
            </a:r>
          </a:p>
          <a:p>
            <a:pPr algn="just"/>
            <a:endParaRPr lang="en-GB" dirty="0" smtClean="0">
              <a:solidFill>
                <a:srgbClr val="000000"/>
              </a:solidFill>
              <a:latin typeface="Calibri" pitchFamily="34" charset="0"/>
              <a:cs typeface="Calibri" pitchFamily="34" charset="0"/>
            </a:endParaRPr>
          </a:p>
          <a:p>
            <a:pPr algn="just"/>
            <a:endParaRPr lang="en-GB" dirty="0">
              <a:solidFill>
                <a:srgbClr val="000000"/>
              </a:solidFill>
              <a:latin typeface="Calibri" pitchFamily="34" charset="0"/>
              <a:cs typeface="Calibri" pitchFamily="34" charset="0"/>
            </a:endParaRPr>
          </a:p>
        </p:txBody>
      </p:sp>
      <p:grpSp>
        <p:nvGrpSpPr>
          <p:cNvPr id="6" name="Group 12"/>
          <p:cNvGrpSpPr>
            <a:grpSpLocks/>
          </p:cNvGrpSpPr>
          <p:nvPr/>
        </p:nvGrpSpPr>
        <p:grpSpPr bwMode="auto">
          <a:xfrm>
            <a:off x="179388" y="58738"/>
            <a:ext cx="8964612" cy="865187"/>
            <a:chOff x="113" y="37"/>
            <a:chExt cx="5647" cy="545"/>
          </a:xfrm>
        </p:grpSpPr>
        <p:sp>
          <p:nvSpPr>
            <p:cNvPr id="7"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8"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9"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616153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Julie-McIvor\AppData\Local\Microsoft\Windows\Temporary Internet Files\Content.Outlook\6UIIZNGB\8424375496_3d90e6a7c0_h.jpg"/>
          <p:cNvPicPr>
            <a:picLocks noChangeAspect="1" noChangeArrowheads="1"/>
          </p:cNvPicPr>
          <p:nvPr/>
        </p:nvPicPr>
        <p:blipFill rotWithShape="1">
          <a:blip r:embed="rId3" cstate="email">
            <a:lum bright="70000" contrast="-70000"/>
            <a:extLst>
              <a:ext uri="{28A0092B-C50C-407E-A947-70E740481C1C}">
                <a14:useLocalDpi xmlns:a14="http://schemas.microsoft.com/office/drawing/2010/main"/>
              </a:ext>
            </a:extLst>
          </a:blip>
          <a:srcRect t="900"/>
          <a:stretch/>
        </p:blipFill>
        <p:spPr bwMode="auto">
          <a:xfrm>
            <a:off x="0" y="1028700"/>
            <a:ext cx="9143999" cy="528062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636649" y="2516882"/>
            <a:ext cx="7870702" cy="1152128"/>
          </a:xfrm>
        </p:spPr>
        <p:txBody>
          <a:bodyPr>
            <a:normAutofit lnSpcReduction="10000"/>
          </a:bodyPr>
          <a:lstStyle/>
          <a:p>
            <a:pPr marL="0" indent="0" algn="ctr">
              <a:buNone/>
            </a:pPr>
            <a:r>
              <a:rPr lang="en-GB" sz="3600" dirty="0">
                <a:latin typeface="Calibri" pitchFamily="34" charset="0"/>
                <a:cs typeface="Calibri" pitchFamily="34" charset="0"/>
              </a:rPr>
              <a:t>101 million children do not have access to education, 78 million of these are girls</a:t>
            </a:r>
          </a:p>
          <a:p>
            <a:endParaRPr lang="en-GB"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123766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Julie-McIvor\AppData\Local\Microsoft\Windows\Temporary Internet Files\Content.Outlook\6UIIZNGB\8053185253_0f4ef5220f_h.jpg"/>
          <p:cNvPicPr>
            <a:picLocks noChangeAspect="1" noChangeArrowheads="1"/>
          </p:cNvPicPr>
          <p:nvPr/>
        </p:nvPicPr>
        <p:blipFill rotWithShape="1">
          <a:blip r:embed="rId3" cstate="email">
            <a:lum bright="70000" contrast="-70000"/>
            <a:extLst>
              <a:ext uri="{28A0092B-C50C-407E-A947-70E740481C1C}">
                <a14:useLocalDpi xmlns:a14="http://schemas.microsoft.com/office/drawing/2010/main"/>
              </a:ext>
            </a:extLst>
          </a:blip>
          <a:srcRect/>
          <a:stretch/>
        </p:blipFill>
        <p:spPr bwMode="auto">
          <a:xfrm>
            <a:off x="0" y="1079500"/>
            <a:ext cx="9144000" cy="515504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579883" y="2807072"/>
            <a:ext cx="8456613" cy="1270000"/>
          </a:xfrm>
        </p:spPr>
        <p:txBody>
          <a:bodyPr/>
          <a:lstStyle/>
          <a:p>
            <a:pPr marL="0" indent="0">
              <a:buNone/>
            </a:pPr>
            <a:r>
              <a:rPr lang="en-GB" sz="3600" dirty="0">
                <a:latin typeface="Calibri" pitchFamily="34" charset="0"/>
                <a:cs typeface="Calibri" pitchFamily="34" charset="0"/>
              </a:rPr>
              <a:t>33 million people worldwide still live with HIV and do not have access to medication</a:t>
            </a:r>
          </a:p>
          <a:p>
            <a:endParaRPr lang="en-GB" sz="3600"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284362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13" y="260648"/>
            <a:ext cx="8712968" cy="6264696"/>
          </a:xfrm>
        </p:spPr>
        <p:txBody>
          <a:bodyPr>
            <a:noAutofit/>
          </a:bodyPr>
          <a:lstStyle/>
          <a:p>
            <a:pPr marL="0" indent="0" algn="ctr">
              <a:buNone/>
            </a:pPr>
            <a:r>
              <a:rPr lang="en-GB" sz="4000" b="1" dirty="0" smtClean="0">
                <a:latin typeface="+mj-lt"/>
              </a:rPr>
              <a:t>Presentation to: </a:t>
            </a:r>
            <a:r>
              <a:rPr lang="en-GB" sz="4000" dirty="0" smtClean="0">
                <a:latin typeface="+mj-lt"/>
              </a:rPr>
              <a:t/>
            </a:r>
            <a:br>
              <a:rPr lang="en-GB" sz="4000" dirty="0" smtClean="0">
                <a:latin typeface="+mj-lt"/>
              </a:rPr>
            </a:br>
            <a:r>
              <a:rPr lang="en-GB" sz="4000" dirty="0" smtClean="0">
                <a:latin typeface="+mj-lt"/>
              </a:rPr>
              <a:t>World </a:t>
            </a:r>
            <a:r>
              <a:rPr lang="en-GB" sz="4000" dirty="0">
                <a:latin typeface="+mj-lt"/>
              </a:rPr>
              <a:t>Church </a:t>
            </a:r>
            <a:r>
              <a:rPr lang="en-GB" sz="4000" dirty="0" smtClean="0">
                <a:latin typeface="+mj-lt"/>
              </a:rPr>
              <a:t>Committee, </a:t>
            </a:r>
            <a:r>
              <a:rPr lang="en-GB" sz="4000" dirty="0">
                <a:latin typeface="+mj-lt"/>
              </a:rPr>
              <a:t>Hamilton </a:t>
            </a:r>
            <a:r>
              <a:rPr lang="en-GB" sz="4000" dirty="0" smtClean="0">
                <a:latin typeface="+mj-lt"/>
              </a:rPr>
              <a:t>Presbytery</a:t>
            </a:r>
          </a:p>
          <a:p>
            <a:pPr marL="0" indent="0" algn="ctr">
              <a:buNone/>
            </a:pPr>
            <a:r>
              <a:rPr lang="en-GB" sz="4000" b="1" dirty="0" smtClean="0">
                <a:latin typeface="+mj-lt"/>
              </a:rPr>
              <a:t>Presented by:</a:t>
            </a:r>
            <a:endParaRPr lang="en-GB" sz="4000" b="1" dirty="0">
              <a:latin typeface="+mj-lt"/>
            </a:endParaRPr>
          </a:p>
          <a:p>
            <a:r>
              <a:rPr lang="en-GB" sz="3600" dirty="0" smtClean="0">
                <a:latin typeface="+mj-lt"/>
              </a:rPr>
              <a:t>Les Campbell – Director for Value for Money</a:t>
            </a:r>
          </a:p>
          <a:p>
            <a:r>
              <a:rPr lang="en-GB" sz="3600" dirty="0" smtClean="0">
                <a:latin typeface="+mj-lt"/>
              </a:rPr>
              <a:t>Bash Hussain – Conflict, Humanitarian and Security Department</a:t>
            </a:r>
          </a:p>
          <a:p>
            <a:pPr marL="0" indent="0" algn="ctr">
              <a:buNone/>
            </a:pPr>
            <a:endParaRPr lang="en-GB" sz="3600" dirty="0" smtClean="0">
              <a:latin typeface="+mj-lt"/>
            </a:endParaRPr>
          </a:p>
          <a:p>
            <a:pPr marL="0" indent="0" algn="ctr">
              <a:buNone/>
            </a:pPr>
            <a:r>
              <a:rPr lang="en-GB" sz="3600" dirty="0" smtClean="0">
                <a:latin typeface="+mj-lt"/>
              </a:rPr>
              <a:t>19</a:t>
            </a:r>
            <a:r>
              <a:rPr lang="en-GB" sz="3600" baseline="30000" dirty="0" smtClean="0">
                <a:latin typeface="+mj-lt"/>
              </a:rPr>
              <a:t>th</a:t>
            </a:r>
            <a:r>
              <a:rPr lang="en-GB" sz="3600" dirty="0" smtClean="0">
                <a:latin typeface="+mj-lt"/>
              </a:rPr>
              <a:t> April 2016</a:t>
            </a:r>
            <a:endParaRPr lang="en-GB" sz="3600" dirty="0">
              <a:latin typeface="+mj-lt"/>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13" y="116632"/>
            <a:ext cx="8967787" cy="865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46772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lum bright="70000" contrast="-70000"/>
            <a:extLst>
              <a:ext uri="{BEBA8EAE-BF5A-486C-A8C5-ECC9F3942E4B}">
                <a14:imgProps xmlns:a14="http://schemas.microsoft.com/office/drawing/2010/main">
                  <a14:imgLayer r:embed="rId4">
                    <a14:imgEffect>
                      <a14:sharpenSoften amount="74000"/>
                    </a14:imgEffect>
                    <a14:imgEffect>
                      <a14:colorTemperature colorTemp="6600"/>
                    </a14:imgEffect>
                    <a14:imgEffect>
                      <a14:saturation sat="191000"/>
                    </a14:imgEffect>
                  </a14:imgLayer>
                </a14:imgProps>
              </a:ext>
              <a:ext uri="{28A0092B-C50C-407E-A947-70E740481C1C}">
                <a14:useLocalDpi xmlns:a14="http://schemas.microsoft.com/office/drawing/2010/main" val="0"/>
              </a:ext>
            </a:extLst>
          </a:blip>
          <a:srcRect t="906"/>
          <a:stretch/>
        </p:blipFill>
        <p:spPr>
          <a:xfrm>
            <a:off x="35496" y="1028700"/>
            <a:ext cx="9108504" cy="5247990"/>
          </a:xfrm>
          <a:prstGeom prst="rect">
            <a:avLst/>
          </a:prstGeom>
        </p:spPr>
      </p:pic>
      <p:sp>
        <p:nvSpPr>
          <p:cNvPr id="3" name="Content Placeholder 2"/>
          <p:cNvSpPr>
            <a:spLocks noGrp="1"/>
          </p:cNvSpPr>
          <p:nvPr>
            <p:ph idx="1"/>
          </p:nvPr>
        </p:nvSpPr>
        <p:spPr>
          <a:xfrm>
            <a:off x="1115616" y="1774509"/>
            <a:ext cx="7416824" cy="3708400"/>
          </a:xfrm>
        </p:spPr>
        <p:txBody>
          <a:bodyPr/>
          <a:lstStyle/>
          <a:p>
            <a:pPr marL="285750" indent="-285750">
              <a:buFontTx/>
              <a:buChar char="-"/>
            </a:pPr>
            <a:endParaRPr lang="en-GB" dirty="0">
              <a:latin typeface="Calibri" pitchFamily="34" charset="0"/>
              <a:cs typeface="Calibri" pitchFamily="34" charset="0"/>
            </a:endParaRPr>
          </a:p>
          <a:p>
            <a:pPr marL="0" indent="0">
              <a:buNone/>
            </a:pPr>
            <a:r>
              <a:rPr lang="en-GB" sz="3600" dirty="0">
                <a:latin typeface="Calibri" pitchFamily="34" charset="0"/>
                <a:cs typeface="Calibri" pitchFamily="34" charset="0"/>
              </a:rPr>
              <a:t>Malaria is the ninth most </a:t>
            </a:r>
            <a:r>
              <a:rPr lang="en-GB" sz="3600" dirty="0" smtClean="0">
                <a:latin typeface="Calibri" pitchFamily="34" charset="0"/>
                <a:cs typeface="Calibri" pitchFamily="34" charset="0"/>
              </a:rPr>
              <a:t>common cause of </a:t>
            </a:r>
            <a:r>
              <a:rPr lang="en-GB" sz="3600" dirty="0">
                <a:latin typeface="Calibri" pitchFamily="34" charset="0"/>
                <a:cs typeface="Calibri" pitchFamily="34" charset="0"/>
              </a:rPr>
              <a:t>death and disability globally and the fifth largest cause of death from infectious diseases</a:t>
            </a:r>
            <a:r>
              <a:rPr lang="en-GB" dirty="0">
                <a:latin typeface="Calibri" pitchFamily="34" charset="0"/>
                <a:cs typeface="Calibri" pitchFamily="34" charset="0"/>
              </a:rPr>
              <a:t>.</a:t>
            </a:r>
          </a:p>
          <a:p>
            <a:endParaRPr lang="en-GB" dirty="0">
              <a:latin typeface="Calibri" pitchFamily="34" charset="0"/>
              <a:cs typeface="Calibri" pitchFamily="34" charset="0"/>
            </a:endParaRPr>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235750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half" idx="1"/>
          </p:nvPr>
        </p:nvSpPr>
        <p:spPr>
          <a:xfrm>
            <a:off x="0" y="1693068"/>
            <a:ext cx="9142512" cy="4472235"/>
          </a:xfrm>
        </p:spPr>
        <p:txBody>
          <a:bodyPr>
            <a:normAutofit/>
          </a:bodyPr>
          <a:lstStyle/>
          <a:p>
            <a:pPr marL="182563" indent="0" eaLnBrk="1" hangingPunct="1">
              <a:spcBef>
                <a:spcPts val="0"/>
              </a:spcBef>
              <a:buNone/>
            </a:pPr>
            <a:endParaRPr lang="en-GB" sz="2000" dirty="0" smtClean="0">
              <a:solidFill>
                <a:srgbClr val="000066"/>
              </a:solidFill>
            </a:endParaRPr>
          </a:p>
          <a:p>
            <a:pPr marL="534988" indent="-352425">
              <a:spcBef>
                <a:spcPts val="0"/>
              </a:spcBef>
              <a:buFont typeface="Arial" panose="020B0604020202020204" pitchFamily="34" charset="0"/>
              <a:buChar char="•"/>
            </a:pPr>
            <a:r>
              <a:rPr lang="en-GB" sz="2600" dirty="0" smtClean="0"/>
              <a:t>War = </a:t>
            </a:r>
            <a:r>
              <a:rPr lang="en-GB" sz="2600" b="1" dirty="0" smtClean="0"/>
              <a:t>development in reverse </a:t>
            </a:r>
          </a:p>
          <a:p>
            <a:pPr marL="534988" indent="-352425">
              <a:spcBef>
                <a:spcPts val="0"/>
              </a:spcBef>
              <a:buFont typeface="Arial" panose="020B0604020202020204" pitchFamily="34" charset="0"/>
              <a:buChar char="•"/>
            </a:pPr>
            <a:endParaRPr lang="en-GB" sz="2600" b="1" dirty="0"/>
          </a:p>
          <a:p>
            <a:pPr marL="534988" indent="-352425">
              <a:spcBef>
                <a:spcPts val="0"/>
              </a:spcBef>
              <a:buFont typeface="Arial" panose="020B0604020202020204" pitchFamily="34" charset="0"/>
              <a:buChar char="•"/>
            </a:pPr>
            <a:r>
              <a:rPr lang="en-GB" sz="2600" dirty="0" smtClean="0"/>
              <a:t>Fragile countries account for </a:t>
            </a:r>
            <a:r>
              <a:rPr lang="en-GB" sz="2600" b="1" dirty="0" smtClean="0"/>
              <a:t>1/3 of those in extreme poverty</a:t>
            </a:r>
          </a:p>
          <a:p>
            <a:pPr marL="182563" indent="0">
              <a:spcBef>
                <a:spcPts val="0"/>
              </a:spcBef>
              <a:buNone/>
            </a:pPr>
            <a:endParaRPr lang="en-GB" sz="2600" b="1" dirty="0" smtClean="0"/>
          </a:p>
          <a:p>
            <a:pPr marL="534988" indent="-352425">
              <a:spcBef>
                <a:spcPts val="0"/>
              </a:spcBef>
              <a:buFont typeface="Arial" panose="020B0604020202020204" pitchFamily="34" charset="0"/>
              <a:buChar char="•"/>
            </a:pPr>
            <a:r>
              <a:rPr lang="en-GB" sz="2600" b="1" dirty="0" smtClean="0"/>
              <a:t>Over 60 million refugees </a:t>
            </a:r>
            <a:r>
              <a:rPr lang="en-GB" sz="2600" dirty="0" smtClean="0"/>
              <a:t>2015</a:t>
            </a:r>
          </a:p>
          <a:p>
            <a:pPr marL="182563" indent="0">
              <a:spcBef>
                <a:spcPts val="0"/>
              </a:spcBef>
              <a:buNone/>
            </a:pPr>
            <a:r>
              <a:rPr lang="en-GB" sz="2600" dirty="0"/>
              <a:t> </a:t>
            </a:r>
            <a:r>
              <a:rPr lang="en-GB" sz="2600" dirty="0" smtClean="0"/>
              <a:t>    </a:t>
            </a:r>
          </a:p>
          <a:p>
            <a:pPr marL="534988" indent="-352425">
              <a:spcBef>
                <a:spcPts val="0"/>
              </a:spcBef>
              <a:buFont typeface="Arial" panose="020B0604020202020204" pitchFamily="34" charset="0"/>
              <a:buChar char="•"/>
            </a:pPr>
            <a:r>
              <a:rPr lang="en-GB" sz="2600" b="1" dirty="0" smtClean="0"/>
              <a:t>Financial cost of crisis</a:t>
            </a:r>
            <a:r>
              <a:rPr lang="en-GB" sz="2600" dirty="0" smtClean="0"/>
              <a:t>: </a:t>
            </a:r>
          </a:p>
          <a:p>
            <a:pPr marL="182563" indent="0">
              <a:spcBef>
                <a:spcPts val="0"/>
              </a:spcBef>
              <a:buNone/>
            </a:pPr>
            <a:r>
              <a:rPr lang="en-GB" sz="2600" dirty="0"/>
              <a:t> </a:t>
            </a:r>
            <a:r>
              <a:rPr lang="en-GB" sz="2600" dirty="0" smtClean="0"/>
              <a:t>   £1 prevention vs. £4 response</a:t>
            </a:r>
          </a:p>
          <a:p>
            <a:pPr marL="534988" indent="-352425">
              <a:spcBef>
                <a:spcPts val="0"/>
              </a:spcBef>
              <a:buFont typeface="Arial" panose="020B0604020202020204" pitchFamily="34" charset="0"/>
              <a:buChar char="•"/>
            </a:pPr>
            <a:endParaRPr lang="en-GB" sz="2000" b="1" dirty="0" smtClean="0"/>
          </a:p>
        </p:txBody>
      </p:sp>
      <p:sp>
        <p:nvSpPr>
          <p:cNvPr id="2" name="TextBox 1"/>
          <p:cNvSpPr txBox="1"/>
          <p:nvPr/>
        </p:nvSpPr>
        <p:spPr>
          <a:xfrm>
            <a:off x="1907704" y="1039914"/>
            <a:ext cx="5256584" cy="769441"/>
          </a:xfrm>
          <a:prstGeom prst="rect">
            <a:avLst/>
          </a:prstGeom>
          <a:noFill/>
        </p:spPr>
        <p:txBody>
          <a:bodyPr wrap="square" rtlCol="0">
            <a:spAutoFit/>
          </a:bodyPr>
          <a:lstStyle/>
          <a:p>
            <a:r>
              <a:rPr lang="en-GB" sz="4400" b="1" dirty="0" smtClean="0">
                <a:latin typeface="+mj-lt"/>
              </a:rPr>
              <a:t>Conflict and stability</a:t>
            </a:r>
            <a:endParaRPr lang="en-GB" sz="4400" b="1" dirty="0">
              <a:latin typeface="+mj-lt"/>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4048" y="3409604"/>
            <a:ext cx="3395464" cy="3187748"/>
          </a:xfrm>
          <a:prstGeom prst="rect">
            <a:avLst/>
          </a:prstGeom>
        </p:spPr>
      </p:pic>
      <p:grpSp>
        <p:nvGrpSpPr>
          <p:cNvPr id="6" name="Group 12"/>
          <p:cNvGrpSpPr>
            <a:grpSpLocks/>
          </p:cNvGrpSpPr>
          <p:nvPr/>
        </p:nvGrpSpPr>
        <p:grpSpPr bwMode="auto">
          <a:xfrm>
            <a:off x="104775" y="95250"/>
            <a:ext cx="8964612" cy="865187"/>
            <a:chOff x="113" y="37"/>
            <a:chExt cx="5647" cy="545"/>
          </a:xfrm>
        </p:grpSpPr>
        <p:sp>
          <p:nvSpPr>
            <p:cNvPr id="7"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8"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9"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198515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693" y="893763"/>
            <a:ext cx="8456613" cy="509588"/>
          </a:xfrm>
        </p:spPr>
        <p:txBody>
          <a:bodyPr>
            <a:noAutofit/>
          </a:bodyPr>
          <a:lstStyle/>
          <a:p>
            <a:pPr algn="ctr"/>
            <a:r>
              <a:rPr lang="en-GB" b="1" dirty="0" smtClean="0">
                <a:latin typeface="Calibri" pitchFamily="34" charset="0"/>
                <a:cs typeface="Calibri" pitchFamily="34" charset="0"/>
              </a:rPr>
              <a:t>Why does the UK give aid?</a:t>
            </a:r>
            <a:endParaRPr lang="en-GB" b="1" dirty="0">
              <a:latin typeface="Calibri" pitchFamily="34" charset="0"/>
              <a:cs typeface="Calibri" pitchFamily="34" charset="0"/>
            </a:endParaRPr>
          </a:p>
        </p:txBody>
      </p:sp>
      <p:sp>
        <p:nvSpPr>
          <p:cNvPr id="3" name="Content Placeholder 2"/>
          <p:cNvSpPr>
            <a:spLocks noGrp="1"/>
          </p:cNvSpPr>
          <p:nvPr>
            <p:ph idx="1"/>
          </p:nvPr>
        </p:nvSpPr>
        <p:spPr>
          <a:xfrm>
            <a:off x="372324" y="1844824"/>
            <a:ext cx="8620795" cy="4752528"/>
          </a:xfrm>
        </p:spPr>
        <p:txBody>
          <a:bodyPr>
            <a:normAutofit fontScale="70000" lnSpcReduction="20000"/>
          </a:bodyPr>
          <a:lstStyle/>
          <a:p>
            <a:pPr>
              <a:lnSpc>
                <a:spcPct val="150000"/>
              </a:lnSpc>
            </a:pPr>
            <a:r>
              <a:rPr lang="en-GB" sz="4500" dirty="0">
                <a:latin typeface="Calibri" pitchFamily="34" charset="0"/>
                <a:cs typeface="Calibri" pitchFamily="34" charset="0"/>
              </a:rPr>
              <a:t>UK as international player and </a:t>
            </a:r>
            <a:r>
              <a:rPr lang="en-GB" sz="4500" dirty="0" smtClean="0">
                <a:latin typeface="Calibri" pitchFamily="34" charset="0"/>
                <a:cs typeface="Calibri" pitchFamily="34" charset="0"/>
              </a:rPr>
              <a:t>leader</a:t>
            </a:r>
            <a:endParaRPr lang="en-GB" sz="4500" dirty="0">
              <a:latin typeface="Calibri" pitchFamily="34" charset="0"/>
              <a:cs typeface="Calibri" pitchFamily="34" charset="0"/>
            </a:endParaRPr>
          </a:p>
          <a:p>
            <a:pPr>
              <a:lnSpc>
                <a:spcPct val="150000"/>
              </a:lnSpc>
            </a:pPr>
            <a:r>
              <a:rPr lang="en-GB" sz="4500" dirty="0" smtClean="0">
                <a:latin typeface="Calibri" pitchFamily="34" charset="0"/>
                <a:cs typeface="Calibri" pitchFamily="34" charset="0"/>
              </a:rPr>
              <a:t>It is the right thing to do</a:t>
            </a:r>
          </a:p>
          <a:p>
            <a:pPr lvl="1">
              <a:lnSpc>
                <a:spcPct val="150000"/>
              </a:lnSpc>
            </a:pPr>
            <a:r>
              <a:rPr lang="en-GB" sz="3800" dirty="0" smtClean="0">
                <a:latin typeface="Calibri" pitchFamily="34" charset="0"/>
                <a:cs typeface="Calibri" pitchFamily="34" charset="0"/>
              </a:rPr>
              <a:t>Morally</a:t>
            </a:r>
          </a:p>
          <a:p>
            <a:pPr lvl="1">
              <a:lnSpc>
                <a:spcPct val="150000"/>
              </a:lnSpc>
            </a:pPr>
            <a:r>
              <a:rPr lang="en-GB" sz="3800" dirty="0" smtClean="0">
                <a:latin typeface="Calibri" pitchFamily="34" charset="0"/>
                <a:cs typeface="Calibri" pitchFamily="34" charset="0"/>
              </a:rPr>
              <a:t>Socially</a:t>
            </a:r>
          </a:p>
          <a:p>
            <a:pPr>
              <a:lnSpc>
                <a:spcPct val="150000"/>
              </a:lnSpc>
            </a:pPr>
            <a:r>
              <a:rPr lang="en-GB" sz="4500" dirty="0" smtClean="0">
                <a:latin typeface="Calibri" pitchFamily="34" charset="0"/>
                <a:cs typeface="Calibri" pitchFamily="34" charset="0"/>
              </a:rPr>
              <a:t>It is the smart thing to do</a:t>
            </a:r>
          </a:p>
          <a:p>
            <a:pPr lvl="1">
              <a:lnSpc>
                <a:spcPct val="150000"/>
              </a:lnSpc>
            </a:pPr>
            <a:r>
              <a:rPr lang="en-GB" sz="3800" dirty="0" smtClean="0">
                <a:latin typeface="Calibri" pitchFamily="34" charset="0"/>
                <a:cs typeface="Calibri" pitchFamily="34" charset="0"/>
              </a:rPr>
              <a:t>It is in our interest</a:t>
            </a:r>
          </a:p>
          <a:p>
            <a:pPr lvl="1">
              <a:lnSpc>
                <a:spcPct val="150000"/>
              </a:lnSpc>
            </a:pPr>
            <a:r>
              <a:rPr lang="en-GB" sz="3800" dirty="0" smtClean="0">
                <a:latin typeface="Calibri" pitchFamily="34" charset="0"/>
                <a:cs typeface="Calibri" pitchFamily="34" charset="0"/>
              </a:rPr>
              <a:t>We are an open economy</a:t>
            </a:r>
          </a:p>
          <a:p>
            <a:pPr lvl="1">
              <a:lnSpc>
                <a:spcPct val="150000"/>
              </a:lnSpc>
            </a:pPr>
            <a:endParaRPr lang="en-GB" dirty="0" smtClean="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03186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5001" y="1145609"/>
            <a:ext cx="8456612" cy="4086225"/>
          </a:xfrm>
        </p:spPr>
        <p:txBody>
          <a:bodyPr>
            <a:normAutofit/>
          </a:bodyPr>
          <a:lstStyle/>
          <a:p>
            <a:pPr marL="0" indent="0">
              <a:buFontTx/>
              <a:buNone/>
              <a:defRPr/>
            </a:pPr>
            <a:r>
              <a:rPr lang="en-GB" sz="2400" dirty="0" smtClean="0">
                <a:cs typeface="Calibri" pitchFamily="34" charset="0"/>
              </a:rPr>
              <a:t>Agreed at the UN in September 2015. Five big shifts required to eliminate poverty by 2030:</a:t>
            </a:r>
          </a:p>
          <a:p>
            <a:pPr marL="0" indent="0">
              <a:buFontTx/>
              <a:buNone/>
              <a:defRPr/>
            </a:pPr>
            <a:r>
              <a:rPr lang="en-GB" sz="2400" dirty="0" smtClean="0">
                <a:cs typeface="Calibri" pitchFamily="34" charset="0"/>
              </a:rPr>
              <a:t>1. Leave </a:t>
            </a:r>
            <a:r>
              <a:rPr lang="en-GB" sz="2400" dirty="0">
                <a:cs typeface="Calibri" pitchFamily="34" charset="0"/>
              </a:rPr>
              <a:t>No One </a:t>
            </a:r>
            <a:r>
              <a:rPr lang="en-GB" sz="2400" dirty="0" smtClean="0">
                <a:cs typeface="Calibri" pitchFamily="34" charset="0"/>
              </a:rPr>
              <a:t>Behind</a:t>
            </a:r>
          </a:p>
          <a:p>
            <a:pPr marL="0" indent="0">
              <a:buFontTx/>
              <a:buNone/>
              <a:defRPr/>
            </a:pPr>
            <a:r>
              <a:rPr lang="en-GB" sz="2400" dirty="0" smtClean="0">
                <a:cs typeface="Calibri" pitchFamily="34" charset="0"/>
              </a:rPr>
              <a:t>2. Put </a:t>
            </a:r>
            <a:r>
              <a:rPr lang="en-GB" sz="2400" dirty="0">
                <a:cs typeface="Calibri" pitchFamily="34" charset="0"/>
              </a:rPr>
              <a:t>Sustainable Development at the c</a:t>
            </a:r>
            <a:r>
              <a:rPr lang="en-GB" sz="2400" dirty="0" smtClean="0">
                <a:cs typeface="Calibri" pitchFamily="34" charset="0"/>
              </a:rPr>
              <a:t>ore </a:t>
            </a:r>
          </a:p>
          <a:p>
            <a:pPr marL="0" indent="0">
              <a:buFontTx/>
              <a:buNone/>
              <a:defRPr/>
            </a:pPr>
            <a:r>
              <a:rPr lang="en-GB" sz="2400" dirty="0" smtClean="0">
                <a:cs typeface="Calibri" pitchFamily="34" charset="0"/>
              </a:rPr>
              <a:t>3. Transform </a:t>
            </a:r>
            <a:r>
              <a:rPr lang="en-GB" sz="2400" dirty="0">
                <a:cs typeface="Calibri" pitchFamily="34" charset="0"/>
              </a:rPr>
              <a:t>economies for jobs and inclusive </a:t>
            </a:r>
            <a:r>
              <a:rPr lang="en-GB" sz="2400" dirty="0" smtClean="0">
                <a:cs typeface="Calibri" pitchFamily="34" charset="0"/>
              </a:rPr>
              <a:t>growth</a:t>
            </a:r>
          </a:p>
          <a:p>
            <a:pPr marL="0" indent="0">
              <a:buFontTx/>
              <a:buNone/>
              <a:defRPr/>
            </a:pPr>
            <a:r>
              <a:rPr lang="en-GB" sz="2400" dirty="0" smtClean="0">
                <a:cs typeface="Calibri" pitchFamily="34" charset="0"/>
              </a:rPr>
              <a:t>4. Build peace and effective, open and accountable institutions for all </a:t>
            </a:r>
          </a:p>
          <a:p>
            <a:pPr marL="0" indent="0">
              <a:buFontTx/>
              <a:buNone/>
              <a:defRPr/>
            </a:pPr>
            <a:r>
              <a:rPr lang="en-GB" sz="2400" dirty="0" smtClean="0">
                <a:cs typeface="Calibri" pitchFamily="34" charset="0"/>
              </a:rPr>
              <a:t>5. Forge new global partnerships</a:t>
            </a:r>
            <a:endParaRPr lang="en-GB" sz="2400" dirty="0">
              <a:cs typeface="Calibri" pitchFamily="34" charset="0"/>
            </a:endParaRPr>
          </a:p>
        </p:txBody>
      </p:sp>
      <p:sp>
        <p:nvSpPr>
          <p:cNvPr id="53252" name="TextBox 4"/>
          <p:cNvSpPr txBox="1">
            <a:spLocks noChangeArrowheads="1"/>
          </p:cNvSpPr>
          <p:nvPr/>
        </p:nvSpPr>
        <p:spPr bwMode="auto">
          <a:xfrm>
            <a:off x="647700" y="407441"/>
            <a:ext cx="770413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FontTx/>
              <a:buNone/>
            </a:pPr>
            <a:r>
              <a:rPr lang="en-GB" altLang="en-US" sz="4400" b="1" dirty="0" smtClean="0">
                <a:solidFill>
                  <a:srgbClr val="000000"/>
                </a:solidFill>
                <a:latin typeface="+mj-lt"/>
              </a:rPr>
              <a:t>Global Goals</a:t>
            </a:r>
            <a:endParaRPr lang="en-GB" altLang="en-US" sz="4400" b="1" dirty="0">
              <a:solidFill>
                <a:srgbClr val="000000"/>
              </a:solidFill>
              <a:latin typeface="+mj-lt"/>
            </a:endParaRPr>
          </a:p>
        </p:txBody>
      </p:sp>
      <p:grpSp>
        <p:nvGrpSpPr>
          <p:cNvPr id="53253" name="Group 12"/>
          <p:cNvGrpSpPr>
            <a:grpSpLocks/>
          </p:cNvGrpSpPr>
          <p:nvPr/>
        </p:nvGrpSpPr>
        <p:grpSpPr bwMode="auto">
          <a:xfrm>
            <a:off x="179388" y="58738"/>
            <a:ext cx="8964612" cy="865187"/>
            <a:chOff x="113" y="37"/>
            <a:chExt cx="5647" cy="545"/>
          </a:xfrm>
        </p:grpSpPr>
        <p:sp>
          <p:nvSpPr>
            <p:cNvPr id="53254"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53255"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53256"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7"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7407" y="3933057"/>
            <a:ext cx="4538005" cy="2664296"/>
          </a:xfrm>
          <a:prstGeom prst="rect">
            <a:avLst/>
          </a:prstGeom>
        </p:spPr>
      </p:pic>
    </p:spTree>
    <p:extLst>
      <p:ext uri="{BB962C8B-B14F-4D97-AF65-F5344CB8AC3E}">
        <p14:creationId xmlns:p14="http://schemas.microsoft.com/office/powerpoint/2010/main" val="29617990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yrian Civil War</a:t>
            </a:r>
            <a:endParaRPr lang="en-GB" dirty="0"/>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71600" y="1484784"/>
            <a:ext cx="7416824" cy="4791571"/>
          </a:xfrm>
        </p:spPr>
      </p:pic>
      <p:grpSp>
        <p:nvGrpSpPr>
          <p:cNvPr id="8" name="Group 12"/>
          <p:cNvGrpSpPr>
            <a:grpSpLocks/>
          </p:cNvGrpSpPr>
          <p:nvPr/>
        </p:nvGrpSpPr>
        <p:grpSpPr bwMode="auto">
          <a:xfrm>
            <a:off x="179388" y="58738"/>
            <a:ext cx="8964612" cy="865187"/>
            <a:chOff x="113" y="37"/>
            <a:chExt cx="5647" cy="545"/>
          </a:xfrm>
        </p:grpSpPr>
        <p:sp>
          <p:nvSpPr>
            <p:cNvPr id="9"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 name="Rectangle 9"/>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11" name="Picture 9" descr="DFID_280_SML_A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UK-AID-Standard-RG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3534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825" y="1339586"/>
            <a:ext cx="8735007" cy="5185758"/>
          </a:xfrm>
          <a:prstGeom prst="rect">
            <a:avLst/>
          </a:prstGeom>
        </p:spPr>
      </p:pic>
      <p:sp>
        <p:nvSpPr>
          <p:cNvPr id="6" name="Title 1"/>
          <p:cNvSpPr>
            <a:spLocks noGrp="1"/>
          </p:cNvSpPr>
          <p:nvPr>
            <p:ph type="title"/>
          </p:nvPr>
        </p:nvSpPr>
        <p:spPr>
          <a:xfrm>
            <a:off x="457200" y="274638"/>
            <a:ext cx="8229600" cy="1143000"/>
          </a:xfrm>
        </p:spPr>
        <p:txBody>
          <a:bodyPr/>
          <a:lstStyle/>
          <a:p>
            <a:r>
              <a:rPr lang="en-GB" smtClean="0"/>
              <a:t>Areas - Civil </a:t>
            </a:r>
            <a:r>
              <a:rPr lang="en-GB" dirty="0" smtClean="0"/>
              <a:t>War</a:t>
            </a:r>
            <a:endParaRPr lang="en-GB" dirty="0"/>
          </a:p>
        </p:txBody>
      </p:sp>
      <p:grpSp>
        <p:nvGrpSpPr>
          <p:cNvPr id="7" name="Group 12"/>
          <p:cNvGrpSpPr>
            <a:grpSpLocks/>
          </p:cNvGrpSpPr>
          <p:nvPr/>
        </p:nvGrpSpPr>
        <p:grpSpPr bwMode="auto">
          <a:xfrm>
            <a:off x="179388" y="58738"/>
            <a:ext cx="8964612" cy="865187"/>
            <a:chOff x="113" y="37"/>
            <a:chExt cx="5647" cy="545"/>
          </a:xfrm>
        </p:grpSpPr>
        <p:sp>
          <p:nvSpPr>
            <p:cNvPr id="8" name="Rectangle 7"/>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 name="Rectangle 8"/>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10"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66336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145" y="527844"/>
            <a:ext cx="8229600" cy="1143000"/>
          </a:xfrm>
        </p:spPr>
        <p:txBody>
          <a:bodyPr/>
          <a:lstStyle/>
          <a:p>
            <a:r>
              <a:rPr lang="en-GB" dirty="0" smtClean="0"/>
              <a:t>Key issues within Syria</a:t>
            </a:r>
            <a:endParaRPr lang="en-GB" dirty="0"/>
          </a:p>
        </p:txBody>
      </p:sp>
      <p:sp>
        <p:nvSpPr>
          <p:cNvPr id="3" name="Content Placeholder 2"/>
          <p:cNvSpPr>
            <a:spLocks noGrp="1"/>
          </p:cNvSpPr>
          <p:nvPr>
            <p:ph idx="1"/>
          </p:nvPr>
        </p:nvSpPr>
        <p:spPr/>
        <p:txBody>
          <a:bodyPr>
            <a:normAutofit/>
          </a:bodyPr>
          <a:lstStyle/>
          <a:p>
            <a:r>
              <a:rPr lang="en-GB" dirty="0"/>
              <a:t>13.5 million people are in need of humanitarian assistance inside </a:t>
            </a:r>
            <a:r>
              <a:rPr lang="en-GB" dirty="0" smtClean="0"/>
              <a:t>Syria</a:t>
            </a:r>
          </a:p>
          <a:p>
            <a:r>
              <a:rPr lang="en-GB" dirty="0"/>
              <a:t>4.8 million Syrians have fled as refugees to neighbouring </a:t>
            </a:r>
            <a:r>
              <a:rPr lang="en-GB" dirty="0" smtClean="0"/>
              <a:t>countries</a:t>
            </a:r>
          </a:p>
          <a:p>
            <a:r>
              <a:rPr lang="en-GB" dirty="0" smtClean="0"/>
              <a:t>The Prime </a:t>
            </a:r>
            <a:r>
              <a:rPr lang="en-GB" dirty="0"/>
              <a:t>Minister announced that the UK will more than double our total pledge to the Syria crisis from £1.12 billion to over £2.3 billion.</a:t>
            </a:r>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5"/>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533463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gration</a:t>
            </a:r>
            <a:endParaRPr lang="en-GB" dirty="0"/>
          </a:p>
        </p:txBody>
      </p:sp>
      <p:sp>
        <p:nvSpPr>
          <p:cNvPr id="3" name="Content Placeholder 2"/>
          <p:cNvSpPr>
            <a:spLocks noGrp="1"/>
          </p:cNvSpPr>
          <p:nvPr>
            <p:ph idx="1"/>
          </p:nvPr>
        </p:nvSpPr>
        <p:spPr>
          <a:xfrm>
            <a:off x="457200" y="1268760"/>
            <a:ext cx="8229600" cy="4857403"/>
          </a:xfrm>
        </p:spPr>
        <p:txBody>
          <a:bodyPr>
            <a:normAutofit/>
          </a:bodyPr>
          <a:lstStyle/>
          <a:p>
            <a:pPr lvl="0"/>
            <a:r>
              <a:rPr lang="en-GB" dirty="0"/>
              <a:t>Over 1 million refugees and migrants crossed the Mediterranean into Europe in 2015. </a:t>
            </a:r>
            <a:endParaRPr lang="en-GB" dirty="0" smtClean="0"/>
          </a:p>
          <a:p>
            <a:pPr lvl="0"/>
            <a:r>
              <a:rPr lang="en-GB" dirty="0" smtClean="0"/>
              <a:t>Our </a:t>
            </a:r>
            <a:r>
              <a:rPr lang="en-GB" dirty="0"/>
              <a:t>Royal Navy assets </a:t>
            </a:r>
            <a:r>
              <a:rPr lang="en-GB" u="sng" dirty="0"/>
              <a:t>and</a:t>
            </a:r>
            <a:r>
              <a:rPr lang="en-GB" dirty="0"/>
              <a:t> Border Force </a:t>
            </a:r>
            <a:r>
              <a:rPr lang="en-GB" dirty="0" smtClean="0"/>
              <a:t>vessels have helped to </a:t>
            </a:r>
            <a:r>
              <a:rPr lang="en-GB" dirty="0"/>
              <a:t>rescue </a:t>
            </a:r>
            <a:r>
              <a:rPr lang="en-GB" b="1" dirty="0"/>
              <a:t>over 12,500</a:t>
            </a:r>
            <a:r>
              <a:rPr lang="en-GB" dirty="0"/>
              <a:t> in the Mediterranean</a:t>
            </a:r>
            <a:r>
              <a:rPr lang="en-GB" dirty="0" smtClean="0"/>
              <a:t>.</a:t>
            </a:r>
          </a:p>
          <a:p>
            <a:pPr lvl="0"/>
            <a:r>
              <a:rPr lang="en-GB" dirty="0"/>
              <a:t>Over 153,000 refugees and migrants have crossed the Mediterranean since the start of Jan 2016 to 16 March. </a:t>
            </a:r>
            <a:endParaRPr lang="en-GB" sz="2000"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5"/>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860969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1318" y="1628800"/>
            <a:ext cx="8229600" cy="4525963"/>
          </a:xfrm>
        </p:spPr>
        <p:txBody>
          <a:bodyPr/>
          <a:lstStyle/>
          <a:p>
            <a:r>
              <a:rPr lang="en-GB" dirty="0"/>
              <a:t>There are over 4.8 million refugees in neighbouring </a:t>
            </a:r>
            <a:r>
              <a:rPr lang="en-GB" dirty="0" smtClean="0"/>
              <a:t>countries</a:t>
            </a:r>
          </a:p>
          <a:p>
            <a:r>
              <a:rPr lang="en-GB" dirty="0"/>
              <a:t>Turkey hosts the largest number, over 2.7 </a:t>
            </a:r>
            <a:r>
              <a:rPr lang="en-GB" dirty="0" smtClean="0"/>
              <a:t>million</a:t>
            </a:r>
          </a:p>
          <a:p>
            <a:r>
              <a:rPr lang="en-GB" dirty="0"/>
              <a:t>In Lebanon, Syrian refugees now account for one quarter of the pre-crisis population.</a:t>
            </a:r>
          </a:p>
        </p:txBody>
      </p:sp>
      <p:sp>
        <p:nvSpPr>
          <p:cNvPr id="2" name="Title 1"/>
          <p:cNvSpPr>
            <a:spLocks noGrp="1"/>
          </p:cNvSpPr>
          <p:nvPr>
            <p:ph type="title"/>
          </p:nvPr>
        </p:nvSpPr>
        <p:spPr>
          <a:xfrm>
            <a:off x="391318" y="548561"/>
            <a:ext cx="8229600" cy="1143000"/>
          </a:xfrm>
        </p:spPr>
        <p:txBody>
          <a:bodyPr/>
          <a:lstStyle/>
          <a:p>
            <a:r>
              <a:rPr lang="en-GB" dirty="0"/>
              <a:t>Regional Complexities</a:t>
            </a:r>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5"/>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1202720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1318" y="527844"/>
            <a:ext cx="8229600" cy="1143000"/>
          </a:xfrm>
        </p:spPr>
        <p:txBody>
          <a:bodyPr/>
          <a:lstStyle/>
          <a:p>
            <a:r>
              <a:rPr lang="en-GB" dirty="0" smtClean="0"/>
              <a:t>UK refugee solution</a:t>
            </a:r>
            <a:endParaRPr lang="en-GB" dirty="0"/>
          </a:p>
        </p:txBody>
      </p:sp>
      <p:sp>
        <p:nvSpPr>
          <p:cNvPr id="3" name="Content Placeholder 2"/>
          <p:cNvSpPr>
            <a:spLocks noGrp="1"/>
          </p:cNvSpPr>
          <p:nvPr>
            <p:ph idx="1"/>
          </p:nvPr>
        </p:nvSpPr>
        <p:spPr/>
        <p:txBody>
          <a:bodyPr>
            <a:normAutofit lnSpcReduction="10000"/>
          </a:bodyPr>
          <a:lstStyle/>
          <a:p>
            <a:pPr lvl="0"/>
            <a:r>
              <a:rPr lang="en-GB" dirty="0"/>
              <a:t>We have met our commitment to resettle 1000 Syrian refugees before Christmas, and expect to resettle up to the full commitment of 20,000 Syrians in need of protection by 2020. </a:t>
            </a:r>
          </a:p>
          <a:p>
            <a:r>
              <a:rPr lang="en-GB" dirty="0"/>
              <a:t>The largest driver of irregular migrants from </a:t>
            </a:r>
            <a:r>
              <a:rPr lang="en-GB" dirty="0" smtClean="0"/>
              <a:t>Middle East and North Africa </a:t>
            </a:r>
            <a:r>
              <a:rPr lang="en-GB" dirty="0"/>
              <a:t>into the EU is currently the Syria crisis as people flee conflict and insecurity.</a:t>
            </a:r>
          </a:p>
          <a:p>
            <a:endParaRPr lang="en-GB"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5"/>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055497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Julie-McIvor\AppData\Local\Microsoft\Windows\Temporary Internet Files\Content.Outlook\6UIIZNGB\8405085463_fabd50e946_h.jpg"/>
          <p:cNvPicPr>
            <a:picLocks noChangeAspect="1" noChangeArrowheads="1"/>
          </p:cNvPicPr>
          <p:nvPr/>
        </p:nvPicPr>
        <p:blipFill>
          <a:blip r:embed="rId3" cstate="email">
            <a:lum bright="70000" contrast="-70000"/>
            <a:extLst>
              <a:ext uri="{BEBA8EAE-BF5A-486C-A8C5-ECC9F3942E4B}">
                <a14:imgProps xmlns:a14="http://schemas.microsoft.com/office/drawing/2010/main">
                  <a14:imgLayer r:embed="rId4">
                    <a14:imgEffect>
                      <a14:sharpenSoften amount="-12000"/>
                    </a14:imgEffect>
                  </a14:imgLayer>
                </a14:imgProps>
              </a:ext>
              <a:ext uri="{28A0092B-C50C-407E-A947-70E740481C1C}">
                <a14:useLocalDpi xmlns:a14="http://schemas.microsoft.com/office/drawing/2010/main"/>
              </a:ext>
            </a:extLst>
          </a:blip>
          <a:srcRect/>
          <a:stretch>
            <a:fillRect/>
          </a:stretch>
        </p:blipFill>
        <p:spPr bwMode="auto">
          <a:xfrm>
            <a:off x="0" y="1047840"/>
            <a:ext cx="9144000" cy="52614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GB" b="1" dirty="0" smtClean="0">
                <a:latin typeface="+mn-lt"/>
              </a:rPr>
              <a:t>Contents</a:t>
            </a:r>
            <a:endParaRPr lang="en-GB" b="1" dirty="0">
              <a:latin typeface="+mn-lt"/>
            </a:endParaRPr>
          </a:p>
        </p:txBody>
      </p:sp>
      <p:sp>
        <p:nvSpPr>
          <p:cNvPr id="3" name="Content Placeholder 2"/>
          <p:cNvSpPr>
            <a:spLocks noGrp="1"/>
          </p:cNvSpPr>
          <p:nvPr>
            <p:ph idx="1"/>
          </p:nvPr>
        </p:nvSpPr>
        <p:spPr>
          <a:xfrm>
            <a:off x="457200" y="2060848"/>
            <a:ext cx="8229600" cy="3773016"/>
          </a:xfrm>
        </p:spPr>
        <p:txBody>
          <a:bodyPr>
            <a:normAutofit/>
          </a:bodyPr>
          <a:lstStyle/>
          <a:p>
            <a:pPr algn="ctr"/>
            <a:r>
              <a:rPr lang="en-GB" sz="4400" dirty="0" smtClean="0"/>
              <a:t>Introduction to DFID</a:t>
            </a:r>
          </a:p>
          <a:p>
            <a:pPr algn="ctr"/>
            <a:r>
              <a:rPr lang="en-GB" sz="4400" dirty="0" smtClean="0"/>
              <a:t>The work of DFID</a:t>
            </a:r>
          </a:p>
          <a:p>
            <a:pPr algn="ctr"/>
            <a:r>
              <a:rPr lang="en-GB" sz="4400" dirty="0" smtClean="0"/>
              <a:t>Conflict &amp; Fragility </a:t>
            </a:r>
          </a:p>
        </p:txBody>
      </p:sp>
      <p:grpSp>
        <p:nvGrpSpPr>
          <p:cNvPr id="5" name="Group 12"/>
          <p:cNvGrpSpPr>
            <a:grpSpLocks/>
          </p:cNvGrpSpPr>
          <p:nvPr/>
        </p:nvGrpSpPr>
        <p:grpSpPr bwMode="auto">
          <a:xfrm>
            <a:off x="179388" y="58738"/>
            <a:ext cx="8964612" cy="865187"/>
            <a:chOff x="113" y="37"/>
            <a:chExt cx="5647" cy="545"/>
          </a:xfrm>
        </p:grpSpPr>
        <p:sp>
          <p:nvSpPr>
            <p:cNvPr id="6"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7"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8" name="Picture 9" descr="DFID_280_SML_A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UK-AID-Standard-RGB"/>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644984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993" y="527844"/>
            <a:ext cx="8229600" cy="1143000"/>
          </a:xfrm>
        </p:spPr>
        <p:txBody>
          <a:bodyPr/>
          <a:lstStyle/>
          <a:p>
            <a:r>
              <a:rPr lang="en-GB" dirty="0"/>
              <a:t>I</a:t>
            </a:r>
            <a:r>
              <a:rPr lang="en-GB" dirty="0" smtClean="0"/>
              <a:t>nternational response</a:t>
            </a:r>
            <a:endParaRPr lang="en-GB" dirty="0"/>
          </a:p>
        </p:txBody>
      </p:sp>
      <p:sp>
        <p:nvSpPr>
          <p:cNvPr id="3" name="Content Placeholder 2"/>
          <p:cNvSpPr>
            <a:spLocks noGrp="1"/>
          </p:cNvSpPr>
          <p:nvPr>
            <p:ph idx="1"/>
          </p:nvPr>
        </p:nvSpPr>
        <p:spPr>
          <a:xfrm>
            <a:off x="420799" y="1628800"/>
            <a:ext cx="8229600" cy="4929411"/>
          </a:xfrm>
        </p:spPr>
        <p:txBody>
          <a:bodyPr>
            <a:normAutofit fontScale="92500" lnSpcReduction="20000"/>
          </a:bodyPr>
          <a:lstStyle/>
          <a:p>
            <a:pPr marL="0" indent="0">
              <a:buNone/>
            </a:pPr>
            <a:r>
              <a:rPr lang="en-GB" dirty="0"/>
              <a:t>Our support includes:</a:t>
            </a:r>
            <a:endParaRPr lang="en-GB" sz="3600" dirty="0"/>
          </a:p>
          <a:p>
            <a:pPr marL="514350" indent="-514350">
              <a:buFont typeface="+mj-lt"/>
              <a:buAutoNum type="arabicPeriod"/>
            </a:pPr>
            <a:r>
              <a:rPr lang="en-GB" dirty="0" smtClean="0"/>
              <a:t>Helping </a:t>
            </a:r>
            <a:r>
              <a:rPr lang="en-GB" dirty="0"/>
              <a:t>to get Syrian refugee children back into education and where possible integrated into public schools, through the No Lost Generation </a:t>
            </a:r>
            <a:r>
              <a:rPr lang="en-GB" dirty="0" smtClean="0"/>
              <a:t>Initiative</a:t>
            </a:r>
          </a:p>
          <a:p>
            <a:pPr marL="514350" indent="-514350">
              <a:buFont typeface="+mj-lt"/>
              <a:buAutoNum type="arabicPeriod"/>
            </a:pPr>
            <a:r>
              <a:rPr lang="en-GB" dirty="0" smtClean="0"/>
              <a:t>Supporting </a:t>
            </a:r>
            <a:r>
              <a:rPr lang="en-GB" dirty="0"/>
              <a:t>municipal governments and community leaders to provide basic services such as waste collection, water and sewerage services and recreation facilities for both host and refugee </a:t>
            </a:r>
            <a:r>
              <a:rPr lang="en-GB" dirty="0" smtClean="0"/>
              <a:t>communities;</a:t>
            </a:r>
            <a:endParaRPr lang="en-GB" dirty="0"/>
          </a:p>
          <a:p>
            <a:pPr marL="514350" indent="-514350">
              <a:buFont typeface="+mj-lt"/>
              <a:buAutoNum type="arabicPeriod"/>
            </a:pPr>
            <a:r>
              <a:rPr lang="en-GB" dirty="0" smtClean="0"/>
              <a:t>Expanding </a:t>
            </a:r>
            <a:r>
              <a:rPr lang="en-GB" dirty="0"/>
              <a:t>local labour markets and providing more employment opportunities</a:t>
            </a:r>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Rectangle 5"/>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7" name="Picture 9" descr="DFID_280_SML_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75669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Key Figures</a:t>
            </a:r>
            <a:endParaRPr lang="en-GB" dirty="0"/>
          </a:p>
        </p:txBody>
      </p:sp>
      <p:sp>
        <p:nvSpPr>
          <p:cNvPr id="3" name="Content Placeholder 2"/>
          <p:cNvSpPr>
            <a:spLocks noGrp="1"/>
          </p:cNvSpPr>
          <p:nvPr>
            <p:ph idx="1"/>
          </p:nvPr>
        </p:nvSpPr>
        <p:spPr>
          <a:xfrm>
            <a:off x="1474862" y="1556792"/>
            <a:ext cx="6481514" cy="4525963"/>
          </a:xfrm>
        </p:spPr>
        <p:txBody>
          <a:bodyPr/>
          <a:lstStyle/>
          <a:p>
            <a:pPr algn="ctr"/>
            <a:r>
              <a:rPr lang="en-GB" dirty="0" smtClean="0"/>
              <a:t>Total UK Aid 2015: £12,239 million</a:t>
            </a:r>
          </a:p>
          <a:p>
            <a:pPr marL="0" indent="0" algn="ctr">
              <a:buNone/>
            </a:pPr>
            <a:endParaRPr lang="en-GB" dirty="0" smtClean="0"/>
          </a:p>
          <a:p>
            <a:pPr algn="ctr"/>
            <a:r>
              <a:rPr lang="en-GB" dirty="0" smtClean="0"/>
              <a:t>DFID spends: £9,767 millio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13" y="116632"/>
            <a:ext cx="8967787" cy="865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07832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389425" y="1772816"/>
            <a:ext cx="8229600" cy="1143000"/>
          </a:xfrm>
        </p:spPr>
        <p:txBody>
          <a:bodyPr/>
          <a:lstStyle/>
          <a:p>
            <a:pPr>
              <a:defRPr/>
            </a:pPr>
            <a:r>
              <a:rPr lang="en-GB" sz="2400" dirty="0">
                <a:latin typeface="Calibri" pitchFamily="34" charset="0"/>
                <a:cs typeface="Calibri" pitchFamily="34" charset="0"/>
              </a:rPr>
              <a:t>The Department for International Development (DFID) leads the UK’s work to end extreme poverty around the world. We are:</a:t>
            </a:r>
            <a:br>
              <a:rPr lang="en-GB" sz="2400" dirty="0">
                <a:latin typeface="Calibri" pitchFamily="34" charset="0"/>
                <a:cs typeface="Calibri" pitchFamily="34" charset="0"/>
              </a:rPr>
            </a:br>
            <a:endParaRPr lang="en-US" sz="2100" dirty="0" smtClean="0">
              <a:sym typeface="Helvetica Neue UltraLight" charset="0"/>
            </a:endParaRPr>
          </a:p>
        </p:txBody>
      </p:sp>
      <p:sp>
        <p:nvSpPr>
          <p:cNvPr id="37891" name="Rectangle 5"/>
          <p:cNvSpPr>
            <a:spLocks/>
          </p:cNvSpPr>
          <p:nvPr/>
        </p:nvSpPr>
        <p:spPr bwMode="auto">
          <a:xfrm>
            <a:off x="6034320" y="5805046"/>
            <a:ext cx="22479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t"/>
          <a:lstStyle/>
          <a:p>
            <a:pPr>
              <a:lnSpc>
                <a:spcPct val="100000"/>
              </a:lnSpc>
            </a:pPr>
            <a:r>
              <a:rPr lang="en-GB" dirty="0" smtClean="0">
                <a:solidFill>
                  <a:prstClr val="black"/>
                </a:solidFill>
                <a:ea typeface="MS PGothic" pitchFamily="34" charset="-128"/>
              </a:rPr>
              <a:t>Ending aid dependency through </a:t>
            </a:r>
            <a:r>
              <a:rPr lang="en-GB" dirty="0">
                <a:solidFill>
                  <a:prstClr val="black"/>
                </a:solidFill>
                <a:ea typeface="MS PGothic" pitchFamily="34" charset="-128"/>
              </a:rPr>
              <a:t>jobs</a:t>
            </a:r>
            <a:endParaRPr lang="en-US" dirty="0">
              <a:solidFill>
                <a:prstClr val="black"/>
              </a:solidFill>
              <a:ea typeface="MS PGothic" pitchFamily="34" charset="-128"/>
            </a:endParaRPr>
          </a:p>
        </p:txBody>
      </p:sp>
      <p:sp>
        <p:nvSpPr>
          <p:cNvPr id="37893" name="Rectangle 7"/>
          <p:cNvSpPr>
            <a:spLocks/>
          </p:cNvSpPr>
          <p:nvPr/>
        </p:nvSpPr>
        <p:spPr bwMode="auto">
          <a:xfrm>
            <a:off x="611560" y="5805264"/>
            <a:ext cx="22479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00000"/>
              </a:lnSpc>
            </a:pPr>
            <a:r>
              <a:rPr lang="en-US" dirty="0">
                <a:solidFill>
                  <a:prstClr val="black"/>
                </a:solidFill>
                <a:ea typeface="MS PGothic" pitchFamily="34" charset="-128"/>
              </a:rPr>
              <a:t>Leading in </a:t>
            </a:r>
            <a:r>
              <a:rPr lang="en-US" dirty="0" smtClean="0">
                <a:solidFill>
                  <a:prstClr val="black"/>
                </a:solidFill>
                <a:ea typeface="MS PGothic" pitchFamily="34" charset="-128"/>
              </a:rPr>
              <a:t>emergencies</a:t>
            </a:r>
            <a:endParaRPr lang="en-US" dirty="0">
              <a:solidFill>
                <a:prstClr val="black"/>
              </a:solidFill>
              <a:ea typeface="MS PGothic" pitchFamily="34" charset="-128"/>
            </a:endParaRPr>
          </a:p>
        </p:txBody>
      </p:sp>
      <p:pic>
        <p:nvPicPr>
          <p:cNvPr id="37894"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24874" y="3059782"/>
            <a:ext cx="2247900" cy="245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7895"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96772" y="3059782"/>
            <a:ext cx="2247900" cy="245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9" name="Rectangle 6"/>
          <p:cNvSpPr>
            <a:spLocks/>
          </p:cNvSpPr>
          <p:nvPr/>
        </p:nvSpPr>
        <p:spPr bwMode="auto">
          <a:xfrm>
            <a:off x="3387603" y="5805264"/>
            <a:ext cx="2247900" cy="77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00000"/>
              </a:lnSpc>
            </a:pPr>
            <a:r>
              <a:rPr lang="en-US" dirty="0">
                <a:solidFill>
                  <a:prstClr val="black"/>
                </a:solidFill>
                <a:ea typeface="MS PGothic" pitchFamily="34" charset="-128"/>
              </a:rPr>
              <a:t>Unleashing the full potential of girls and women</a:t>
            </a:r>
          </a:p>
          <a:p>
            <a:pPr>
              <a:lnSpc>
                <a:spcPct val="100000"/>
              </a:lnSpc>
            </a:pPr>
            <a:endParaRPr lang="en-US" dirty="0">
              <a:solidFill>
                <a:prstClr val="black"/>
              </a:solidFill>
              <a:ea typeface="MS PGothic" pitchFamily="34" charset="-128"/>
            </a:endParaRPr>
          </a:p>
        </p:txBody>
      </p:sp>
      <p:pic>
        <p:nvPicPr>
          <p:cNvPr id="10" name="Picture 2" descr="C:\Users\sophie-miller\Desktop\GIRL.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72949" y="3059782"/>
            <a:ext cx="2262553" cy="245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
          <p:cNvSpPr txBox="1">
            <a:spLocks noChangeArrowheads="1"/>
          </p:cNvSpPr>
          <p:nvPr/>
        </p:nvSpPr>
        <p:spPr>
          <a:xfrm>
            <a:off x="2700338" y="792162"/>
            <a:ext cx="3759807" cy="650503"/>
          </a:xfrm>
          <a:prstGeom prst="rect">
            <a:avLst/>
          </a:prstGeom>
        </p:spPr>
        <p:txBody>
          <a:bodyPr vert="horz" lIns="91440" tIns="45720" rIns="91440" bIns="45720" rtlCol="0" anchor="ctr">
            <a:normAutofit fontScale="2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7600" b="1" dirty="0" smtClean="0">
                <a:latin typeface="Calibri" pitchFamily="34" charset="0"/>
                <a:cs typeface="Calibri" pitchFamily="34" charset="0"/>
              </a:rPr>
              <a:t>About DFID</a:t>
            </a:r>
            <a:r>
              <a:rPr lang="en-US" dirty="0" smtClean="0">
                <a:latin typeface="Calibri" pitchFamily="34" charset="0"/>
                <a:cs typeface="Calibri" pitchFamily="34" charset="0"/>
              </a:rPr>
              <a:t/>
            </a:r>
            <a:br>
              <a:rPr lang="en-US" dirty="0" smtClean="0">
                <a:latin typeface="Calibri" pitchFamily="34" charset="0"/>
                <a:cs typeface="Calibri" pitchFamily="34" charset="0"/>
              </a:rPr>
            </a:br>
            <a:endParaRPr lang="en-US" dirty="0" smtClean="0">
              <a:latin typeface="Calibri" pitchFamily="34" charset="0"/>
              <a:cs typeface="Calibri" pitchFamily="34" charset="0"/>
            </a:endParaRPr>
          </a:p>
        </p:txBody>
      </p:sp>
      <p:grpSp>
        <p:nvGrpSpPr>
          <p:cNvPr id="12" name="Group 12"/>
          <p:cNvGrpSpPr>
            <a:grpSpLocks/>
          </p:cNvGrpSpPr>
          <p:nvPr/>
        </p:nvGrpSpPr>
        <p:grpSpPr bwMode="auto">
          <a:xfrm>
            <a:off x="179388" y="58738"/>
            <a:ext cx="8964612" cy="865187"/>
            <a:chOff x="113" y="37"/>
            <a:chExt cx="5647" cy="545"/>
          </a:xfrm>
        </p:grpSpPr>
        <p:sp>
          <p:nvSpPr>
            <p:cNvPr id="13"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4"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pic>
          <p:nvPicPr>
            <p:cNvPr id="15" name="Picture 9" descr="DFID_280_SML_AW"/>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0" descr="UK-AID-Standard-RGB"/>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363022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1216947" y="893764"/>
            <a:ext cx="7272808" cy="509588"/>
          </a:xfrm>
        </p:spPr>
        <p:txBody>
          <a:bodyPr>
            <a:noAutofit/>
          </a:bodyPr>
          <a:lstStyle/>
          <a:p>
            <a:pPr eaLnBrk="1" hangingPunct="1"/>
            <a:r>
              <a:rPr lang="en-US" b="1" dirty="0" smtClean="0">
                <a:latin typeface="Calibri" pitchFamily="34" charset="0"/>
                <a:cs typeface="Calibri" pitchFamily="34" charset="0"/>
              </a:rPr>
              <a:t>Our UK Headquarters</a:t>
            </a:r>
          </a:p>
        </p:txBody>
      </p:sp>
      <p:grpSp>
        <p:nvGrpSpPr>
          <p:cNvPr id="5" name="Group 12"/>
          <p:cNvGrpSpPr>
            <a:grpSpLocks/>
          </p:cNvGrpSpPr>
          <p:nvPr/>
        </p:nvGrpSpPr>
        <p:grpSpPr bwMode="auto">
          <a:xfrm>
            <a:off x="179389" y="58739"/>
            <a:ext cx="8964612" cy="865187"/>
            <a:chOff x="113" y="37"/>
            <a:chExt cx="5647" cy="545"/>
          </a:xfrm>
        </p:grpSpPr>
        <p:sp>
          <p:nvSpPr>
            <p:cNvPr id="6"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8"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6678" y="1350289"/>
            <a:ext cx="3864428" cy="5086850"/>
          </a:xfrm>
          <a:prstGeom prst="rect">
            <a:avLst/>
          </a:prstGeom>
        </p:spPr>
      </p:pic>
      <p:cxnSp>
        <p:nvCxnSpPr>
          <p:cNvPr id="10" name="Straight Arrow Connector 9"/>
          <p:cNvCxnSpPr/>
          <p:nvPr/>
        </p:nvCxnSpPr>
        <p:spPr>
          <a:xfrm flipH="1" flipV="1">
            <a:off x="3848163" y="5349927"/>
            <a:ext cx="662943" cy="1080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489009" y="5349927"/>
            <a:ext cx="936104" cy="646331"/>
          </a:xfrm>
          <a:prstGeom prst="rect">
            <a:avLst/>
          </a:prstGeom>
          <a:noFill/>
        </p:spPr>
        <p:txBody>
          <a:bodyPr wrap="square" rtlCol="0">
            <a:spAutoFit/>
          </a:bodyPr>
          <a:lstStyle/>
          <a:p>
            <a:r>
              <a:rPr lang="en-GB" dirty="0" smtClean="0"/>
              <a:t>London</a:t>
            </a:r>
          </a:p>
          <a:p>
            <a:endParaRPr lang="en-GB" dirty="0"/>
          </a:p>
        </p:txBody>
      </p:sp>
      <p:cxnSp>
        <p:nvCxnSpPr>
          <p:cNvPr id="14" name="Straight Arrow Connector 13"/>
          <p:cNvCxnSpPr/>
          <p:nvPr/>
        </p:nvCxnSpPr>
        <p:spPr>
          <a:xfrm>
            <a:off x="1615916" y="3006473"/>
            <a:ext cx="841529" cy="1440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19771" y="2790450"/>
            <a:ext cx="1368152" cy="646331"/>
          </a:xfrm>
          <a:prstGeom prst="rect">
            <a:avLst/>
          </a:prstGeom>
          <a:noFill/>
        </p:spPr>
        <p:txBody>
          <a:bodyPr wrap="square" rtlCol="0">
            <a:spAutoFit/>
          </a:bodyPr>
          <a:lstStyle/>
          <a:p>
            <a:r>
              <a:rPr lang="en-GB" dirty="0" smtClean="0"/>
              <a:t>East Kilbride</a:t>
            </a:r>
          </a:p>
          <a:p>
            <a:endParaRPr lang="en-GB" dirty="0"/>
          </a:p>
        </p:txBody>
      </p:sp>
      <p:sp>
        <p:nvSpPr>
          <p:cNvPr id="13" name="Content Placeholder 2"/>
          <p:cNvSpPr>
            <a:spLocks noGrp="1"/>
          </p:cNvSpPr>
          <p:nvPr>
            <p:ph idx="1"/>
          </p:nvPr>
        </p:nvSpPr>
        <p:spPr>
          <a:xfrm>
            <a:off x="5364088" y="1988841"/>
            <a:ext cx="3435425" cy="4319884"/>
          </a:xfrm>
        </p:spPr>
        <p:txBody>
          <a:bodyPr>
            <a:normAutofit/>
          </a:bodyPr>
          <a:lstStyle/>
          <a:p>
            <a:pPr eaLnBrk="1" hangingPunct="1">
              <a:buFont typeface="Arial" panose="020B0604020202020204" pitchFamily="34" charset="0"/>
              <a:buChar char="•"/>
              <a:defRPr/>
            </a:pPr>
            <a:r>
              <a:rPr lang="en-US" sz="2400" dirty="0" smtClean="0">
                <a:cs typeface="Calibri" pitchFamily="34" charset="0"/>
              </a:rPr>
              <a:t>2 UK headquarters: London and East </a:t>
            </a:r>
            <a:r>
              <a:rPr lang="en-US" sz="2400" dirty="0" err="1" smtClean="0">
                <a:cs typeface="Calibri" pitchFamily="34" charset="0"/>
              </a:rPr>
              <a:t>Kilbride</a:t>
            </a:r>
            <a:endParaRPr lang="en-US" sz="2400" dirty="0" smtClean="0">
              <a:cs typeface="Calibri" pitchFamily="34" charset="0"/>
            </a:endParaRPr>
          </a:p>
          <a:p>
            <a:pPr eaLnBrk="1" hangingPunct="1">
              <a:buFont typeface="Arial" panose="020B0604020202020204" pitchFamily="34" charset="0"/>
              <a:buChar char="•"/>
              <a:defRPr/>
            </a:pPr>
            <a:r>
              <a:rPr lang="en-US" altLang="en-US" sz="2400" dirty="0" smtClean="0"/>
              <a:t>2,800 staff based in two UK headquarters and over 20 overseas </a:t>
            </a:r>
            <a:r>
              <a:rPr lang="en-US" altLang="en-US" sz="2400" dirty="0"/>
              <a:t>offices</a:t>
            </a:r>
            <a:r>
              <a:rPr lang="en-US" altLang="en-US" sz="2400" dirty="0" smtClean="0"/>
              <a:t>.</a:t>
            </a:r>
          </a:p>
          <a:p>
            <a:pPr>
              <a:defRPr/>
            </a:pPr>
            <a:endParaRPr lang="en-US" altLang="en-US" sz="2400" dirty="0"/>
          </a:p>
          <a:p>
            <a:pPr>
              <a:defRPr/>
            </a:pPr>
            <a:endParaRPr lang="en-US" altLang="en-US" dirty="0"/>
          </a:p>
          <a:p>
            <a:pPr eaLnBrk="1" hangingPunct="1">
              <a:buFont typeface="Wingdings" pitchFamily="2" charset="2"/>
              <a:buChar char="§"/>
              <a:defRPr/>
            </a:pPr>
            <a:endParaRPr lang="en-US" sz="1000" dirty="0" smtClean="0">
              <a:latin typeface="Calibri" pitchFamily="34" charset="0"/>
              <a:cs typeface="Calibri" pitchFamily="34" charset="0"/>
            </a:endParaRPr>
          </a:p>
          <a:p>
            <a:pPr marL="0" indent="0" eaLnBrk="1" hangingPunct="1">
              <a:buFontTx/>
              <a:buNone/>
              <a:defRPr/>
            </a:pPr>
            <a:endParaRPr lang="en-US" dirty="0" smtClean="0">
              <a:latin typeface="Calibri" pitchFamily="34" charset="0"/>
              <a:cs typeface="Calibri" pitchFamily="34" charset="0"/>
            </a:endParaRPr>
          </a:p>
          <a:p>
            <a:pPr eaLnBrk="1" hangingPunct="1">
              <a:buFont typeface="Wingdings" pitchFamily="2" charset="2"/>
              <a:buChar char="§"/>
              <a:defRPr/>
            </a:pPr>
            <a:endParaRPr lang="en-US" sz="1000" dirty="0" smtClean="0">
              <a:latin typeface="Calibri" pitchFamily="34" charset="0"/>
              <a:cs typeface="Calibri" pitchFamily="34" charset="0"/>
            </a:endParaRPr>
          </a:p>
          <a:p>
            <a:pPr marL="0" indent="0" eaLnBrk="1" hangingPunct="1">
              <a:buFontTx/>
              <a:buNone/>
              <a:defRPr/>
            </a:pPr>
            <a:endParaRPr lang="en-US" dirty="0" smtClean="0">
              <a:latin typeface="Calibri" pitchFamily="34" charset="0"/>
              <a:cs typeface="Calibri" pitchFamily="34" charset="0"/>
            </a:endParaRPr>
          </a:p>
          <a:p>
            <a:pPr eaLnBrk="1" hangingPunct="1">
              <a:defRPr/>
            </a:pPr>
            <a:endParaRPr lang="en-US" dirty="0" smtClean="0">
              <a:latin typeface="Calibri" pitchFamily="34" charset="0"/>
              <a:cs typeface="Calibri" pitchFamily="34" charset="0"/>
            </a:endParaRPr>
          </a:p>
          <a:p>
            <a:pPr eaLnBrk="1" hangingPunct="1">
              <a:defRPr/>
            </a:pPr>
            <a:endParaRPr lang="en-US" dirty="0" smtClean="0">
              <a:latin typeface="Calibri" pitchFamily="34" charset="0"/>
              <a:cs typeface="Calibri" pitchFamily="34" charset="0"/>
            </a:endParaRPr>
          </a:p>
        </p:txBody>
      </p:sp>
    </p:spTree>
    <p:extLst>
      <p:ext uri="{BB962C8B-B14F-4D97-AF65-F5344CB8AC3E}">
        <p14:creationId xmlns:p14="http://schemas.microsoft.com/office/powerpoint/2010/main" val="3558689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CCE4E9E0-48F9-4F9E-8436-213A92039EBC}" type="slidenum">
              <a:rPr lang="en-GB" smtClean="0">
                <a:solidFill>
                  <a:prstClr val="white">
                    <a:lumMod val="50000"/>
                  </a:prstClr>
                </a:solidFill>
              </a:rPr>
              <a:pPr>
                <a:defRPr/>
              </a:pPr>
              <a:t>7</a:t>
            </a:fld>
            <a:endParaRPr lang="en-GB" dirty="0">
              <a:solidFill>
                <a:prstClr val="white">
                  <a:lumMod val="50000"/>
                </a:prstClr>
              </a:solidFill>
            </a:endParaRPr>
          </a:p>
        </p:txBody>
      </p:sp>
      <p:pic>
        <p:nvPicPr>
          <p:cNvPr id="2050" name="Picture 2" descr="C:\Users\J-Nicholls\AppData\Local\Microsoft\Windows\Temporary Internet Files\Content.Outlook\2LIGK8IL\DRAFT_Programme_Budget_v2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
            <a:ext cx="8964488"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18555" y="142571"/>
            <a:ext cx="8686401" cy="41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hangingPunct="0">
              <a:defRPr sz="2200">
                <a:solidFill>
                  <a:schemeClr val="tx2"/>
                </a:solidFill>
                <a:latin typeface="+mj-lt"/>
                <a:ea typeface="+mj-ea"/>
                <a:cs typeface="ＭＳ Ｐゴシック" charset="0"/>
              </a:defRPr>
            </a:lvl1pPr>
            <a:lvl2pPr eaLnBrk="0" hangingPunct="0">
              <a:defRPr sz="2400">
                <a:solidFill>
                  <a:schemeClr val="tx2"/>
                </a:solidFill>
                <a:latin typeface="Arial Black" charset="0"/>
                <a:ea typeface="ＭＳ Ｐゴシック" charset="0"/>
                <a:cs typeface="ＭＳ Ｐゴシック" charset="0"/>
              </a:defRPr>
            </a:lvl2pPr>
            <a:lvl3pPr eaLnBrk="0" hangingPunct="0">
              <a:defRPr sz="2400">
                <a:solidFill>
                  <a:schemeClr val="tx2"/>
                </a:solidFill>
                <a:latin typeface="Arial Black" charset="0"/>
                <a:ea typeface="ＭＳ Ｐゴシック" charset="0"/>
                <a:cs typeface="ＭＳ Ｐゴシック" charset="0"/>
              </a:defRPr>
            </a:lvl3pPr>
            <a:lvl4pPr eaLnBrk="0" hangingPunct="0">
              <a:defRPr sz="2400">
                <a:solidFill>
                  <a:schemeClr val="tx2"/>
                </a:solidFill>
                <a:latin typeface="Arial Black" charset="0"/>
                <a:ea typeface="ＭＳ Ｐゴシック" charset="0"/>
                <a:cs typeface="ＭＳ Ｐゴシック" charset="0"/>
              </a:defRPr>
            </a:lvl4pPr>
            <a:lvl5pPr eaLnBrk="0" hangingPunct="0">
              <a:defRPr sz="2400">
                <a:solidFill>
                  <a:schemeClr val="tx2"/>
                </a:solidFill>
                <a:latin typeface="Arial Black" charset="0"/>
                <a:ea typeface="ＭＳ Ｐゴシック" charset="0"/>
                <a:cs typeface="ＭＳ Ｐゴシック" charset="0"/>
              </a:defRPr>
            </a:lvl5pPr>
            <a:lvl6pPr marL="457200" eaLnBrk="0" fontAlgn="base" hangingPunct="0">
              <a:spcBef>
                <a:spcPct val="0"/>
              </a:spcBef>
              <a:spcAft>
                <a:spcPct val="0"/>
              </a:spcAft>
              <a:defRPr sz="2400">
                <a:solidFill>
                  <a:schemeClr val="tx2"/>
                </a:solidFill>
                <a:latin typeface="Arial Black" charset="0"/>
                <a:ea typeface="ＭＳ Ｐゴシック" charset="0"/>
                <a:cs typeface="Arial" charset="0"/>
              </a:defRPr>
            </a:lvl6pPr>
            <a:lvl7pPr marL="914400" eaLnBrk="0" fontAlgn="base" hangingPunct="0">
              <a:spcBef>
                <a:spcPct val="0"/>
              </a:spcBef>
              <a:spcAft>
                <a:spcPct val="0"/>
              </a:spcAft>
              <a:defRPr sz="2400">
                <a:solidFill>
                  <a:schemeClr val="tx2"/>
                </a:solidFill>
                <a:latin typeface="Arial Black" charset="0"/>
                <a:ea typeface="ＭＳ Ｐゴシック" charset="0"/>
                <a:cs typeface="Arial" charset="0"/>
              </a:defRPr>
            </a:lvl7pPr>
            <a:lvl8pPr marL="1371600" eaLnBrk="0" fontAlgn="base" hangingPunct="0">
              <a:spcBef>
                <a:spcPct val="0"/>
              </a:spcBef>
              <a:spcAft>
                <a:spcPct val="0"/>
              </a:spcAft>
              <a:defRPr sz="2400">
                <a:solidFill>
                  <a:schemeClr val="tx2"/>
                </a:solidFill>
                <a:latin typeface="Arial Black" charset="0"/>
                <a:ea typeface="ＭＳ Ｐゴシック" charset="0"/>
                <a:cs typeface="Arial" charset="0"/>
              </a:defRPr>
            </a:lvl8pPr>
            <a:lvl9pPr marL="1828800" eaLnBrk="0" fontAlgn="base" hangingPunct="0">
              <a:spcBef>
                <a:spcPct val="0"/>
              </a:spcBef>
              <a:spcAft>
                <a:spcPct val="0"/>
              </a:spcAft>
              <a:defRPr sz="2400">
                <a:solidFill>
                  <a:schemeClr val="tx2"/>
                </a:solidFill>
                <a:latin typeface="Arial Black" charset="0"/>
                <a:ea typeface="ＭＳ Ｐゴシック" charset="0"/>
                <a:cs typeface="Arial" charset="0"/>
              </a:defRPr>
            </a:lvl9pPr>
          </a:lstStyle>
          <a:p>
            <a:r>
              <a:rPr lang="en-GB" b="1" dirty="0">
                <a:solidFill>
                  <a:prstClr val="black"/>
                </a:solidFill>
                <a:latin typeface="Arial Black" panose="020B0A04020102020204" pitchFamily="34" charset="0"/>
              </a:rPr>
              <a:t>DFID’s bilateral geographic portfolio in 2015/16</a:t>
            </a:r>
          </a:p>
        </p:txBody>
      </p:sp>
    </p:spTree>
    <p:extLst>
      <p:ext uri="{BB962C8B-B14F-4D97-AF65-F5344CB8AC3E}">
        <p14:creationId xmlns:p14="http://schemas.microsoft.com/office/powerpoint/2010/main" val="29832895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3138" y="866118"/>
            <a:ext cx="6224365" cy="509588"/>
          </a:xfrm>
        </p:spPr>
        <p:txBody>
          <a:bodyPr>
            <a:normAutofit fontScale="90000"/>
          </a:bodyPr>
          <a:lstStyle/>
          <a:p>
            <a:r>
              <a:rPr lang="en-GB" dirty="0"/>
              <a:t>DFID footprint overview</a:t>
            </a:r>
          </a:p>
        </p:txBody>
      </p:sp>
      <p:sp>
        <p:nvSpPr>
          <p:cNvPr id="3" name="Content Placeholder 2"/>
          <p:cNvSpPr>
            <a:spLocks noGrp="1"/>
          </p:cNvSpPr>
          <p:nvPr>
            <p:ph idx="1"/>
          </p:nvPr>
        </p:nvSpPr>
        <p:spPr>
          <a:xfrm>
            <a:off x="262650" y="1484784"/>
            <a:ext cx="8456613" cy="5760640"/>
          </a:xfrm>
        </p:spPr>
        <p:txBody>
          <a:bodyPr>
            <a:normAutofit fontScale="92500" lnSpcReduction="20000"/>
          </a:bodyPr>
          <a:lstStyle/>
          <a:p>
            <a:pPr marL="285750" indent="-285750" fontAlgn="auto">
              <a:spcBef>
                <a:spcPts val="0"/>
              </a:spcBef>
              <a:spcAft>
                <a:spcPts val="1200"/>
              </a:spcAft>
              <a:buFont typeface="Arial" pitchFamily="34" charset="0"/>
              <a:buChar char="•"/>
            </a:pPr>
            <a:r>
              <a:rPr lang="en-GB" dirty="0" smtClean="0">
                <a:cs typeface="Arial" pitchFamily="34" charset="0"/>
              </a:rPr>
              <a:t>28 </a:t>
            </a:r>
            <a:r>
              <a:rPr lang="en-GB" dirty="0">
                <a:cs typeface="Arial" pitchFamily="34" charset="0"/>
              </a:rPr>
              <a:t>priority countries</a:t>
            </a:r>
          </a:p>
          <a:p>
            <a:pPr marL="285750" indent="-285750" fontAlgn="auto">
              <a:spcBef>
                <a:spcPts val="0"/>
              </a:spcBef>
              <a:spcAft>
                <a:spcPts val="1200"/>
              </a:spcAft>
              <a:buFont typeface="Arial" pitchFamily="34" charset="0"/>
              <a:buChar char="•"/>
            </a:pPr>
            <a:r>
              <a:rPr lang="en-GB" dirty="0">
                <a:cs typeface="Arial" pitchFamily="34" charset="0"/>
              </a:rPr>
              <a:t>Additional DFID staff in Embassies in Brazil, China, Colombia, Indonesia, Libya and </a:t>
            </a:r>
            <a:r>
              <a:rPr lang="en-GB" dirty="0" err="1">
                <a:cs typeface="Arial" pitchFamily="34" charset="0"/>
              </a:rPr>
              <a:t>UAE</a:t>
            </a:r>
            <a:r>
              <a:rPr lang="en-GB" dirty="0">
                <a:cs typeface="Arial" pitchFamily="34" charset="0"/>
              </a:rPr>
              <a:t> and seconded to posts in Tunisia, Egypt, </a:t>
            </a:r>
            <a:r>
              <a:rPr lang="en-GB" dirty="0" smtClean="0">
                <a:cs typeface="Arial" pitchFamily="34" charset="0"/>
              </a:rPr>
              <a:t>Lebanon and Jordan</a:t>
            </a:r>
            <a:r>
              <a:rPr lang="en-GB" dirty="0">
                <a:cs typeface="Arial" pitchFamily="34" charset="0"/>
              </a:rPr>
              <a:t>.</a:t>
            </a:r>
          </a:p>
          <a:p>
            <a:pPr marL="285750" indent="-285750" fontAlgn="auto">
              <a:spcBef>
                <a:spcPts val="0"/>
              </a:spcBef>
              <a:spcAft>
                <a:spcPts val="1200"/>
              </a:spcAft>
              <a:buFont typeface="Arial" pitchFamily="34" charset="0"/>
              <a:buChar char="•"/>
            </a:pPr>
            <a:r>
              <a:rPr lang="en-GB" dirty="0">
                <a:cs typeface="Arial" pitchFamily="34" charset="0"/>
              </a:rPr>
              <a:t>Transitions to our aid programmes underway in </a:t>
            </a:r>
            <a:r>
              <a:rPr lang="en-GB" dirty="0" smtClean="0">
                <a:cs typeface="Arial" pitchFamily="34" charset="0"/>
              </a:rPr>
              <a:t>India, Vietnam </a:t>
            </a:r>
            <a:r>
              <a:rPr lang="en-GB" dirty="0">
                <a:cs typeface="Arial" pitchFamily="34" charset="0"/>
              </a:rPr>
              <a:t>and South Africa</a:t>
            </a:r>
          </a:p>
          <a:p>
            <a:pPr marL="285750" indent="-285750" fontAlgn="auto">
              <a:spcBef>
                <a:spcPts val="0"/>
              </a:spcBef>
              <a:spcAft>
                <a:spcPts val="1200"/>
              </a:spcAft>
              <a:buFont typeface="Arial" pitchFamily="34" charset="0"/>
              <a:buChar char="•"/>
            </a:pPr>
            <a:r>
              <a:rPr lang="en-GB" dirty="0">
                <a:cs typeface="Arial" pitchFamily="34" charset="0"/>
              </a:rPr>
              <a:t>Regional programmes in Africa, Asia, </a:t>
            </a:r>
            <a:r>
              <a:rPr lang="en-GB" dirty="0" smtClean="0">
                <a:cs typeface="Arial" pitchFamily="34" charset="0"/>
              </a:rPr>
              <a:t>Middle East and North Africa </a:t>
            </a:r>
            <a:r>
              <a:rPr lang="en-GB" dirty="0">
                <a:cs typeface="Arial" pitchFamily="34" charset="0"/>
              </a:rPr>
              <a:t>and the Caribbean</a:t>
            </a:r>
          </a:p>
          <a:p>
            <a:pPr marL="285750" indent="-285750">
              <a:spcBef>
                <a:spcPts val="0"/>
              </a:spcBef>
              <a:spcAft>
                <a:spcPts val="1200"/>
              </a:spcAft>
            </a:pPr>
            <a:r>
              <a:rPr lang="en-GB" dirty="0">
                <a:cs typeface="Arial" pitchFamily="34" charset="0"/>
              </a:rPr>
              <a:t>Development relationships with three Overseas </a:t>
            </a:r>
            <a:r>
              <a:rPr lang="en-GB" dirty="0" smtClean="0">
                <a:cs typeface="Arial" pitchFamily="34" charset="0"/>
              </a:rPr>
              <a:t>Territories - </a:t>
            </a:r>
            <a:r>
              <a:rPr lang="en-GB" dirty="0"/>
              <a:t>M</a:t>
            </a:r>
            <a:r>
              <a:rPr lang="en-GB" dirty="0" smtClean="0"/>
              <a:t>ontserrat</a:t>
            </a:r>
            <a:r>
              <a:rPr lang="en-GB" dirty="0"/>
              <a:t>, P</a:t>
            </a:r>
            <a:r>
              <a:rPr lang="en-GB" dirty="0" smtClean="0"/>
              <a:t>itcairn </a:t>
            </a:r>
            <a:r>
              <a:rPr lang="en-GB" dirty="0"/>
              <a:t>and S</a:t>
            </a:r>
            <a:r>
              <a:rPr lang="en-GB" dirty="0" smtClean="0"/>
              <a:t>t </a:t>
            </a:r>
            <a:r>
              <a:rPr lang="en-GB" dirty="0"/>
              <a:t>H</a:t>
            </a:r>
            <a:r>
              <a:rPr lang="en-GB" dirty="0" smtClean="0"/>
              <a:t>elena</a:t>
            </a:r>
            <a:endParaRPr lang="en-GB" dirty="0">
              <a:cs typeface="Arial" pitchFamily="34" charset="0"/>
            </a:endParaRPr>
          </a:p>
          <a:p>
            <a:pPr marL="285750" indent="-285750" fontAlgn="auto">
              <a:spcBef>
                <a:spcPts val="0"/>
              </a:spcBef>
              <a:spcAft>
                <a:spcPts val="1200"/>
              </a:spcAft>
              <a:buFont typeface="Arial" pitchFamily="34" charset="0"/>
              <a:buChar char="•"/>
            </a:pPr>
            <a:r>
              <a:rPr lang="en-GB" dirty="0">
                <a:cs typeface="Arial" pitchFamily="34" charset="0"/>
              </a:rPr>
              <a:t>Humanitarian aid provided according to need (e.g. for Iraq, Syria, the Sahel and Libya). </a:t>
            </a:r>
            <a:endParaRPr lang="en-US" dirty="0">
              <a:cs typeface="Arial" pitchFamily="34" charset="0"/>
            </a:endParaRPr>
          </a:p>
          <a:p>
            <a:endParaRPr lang="en-GB" dirty="0"/>
          </a:p>
        </p:txBody>
      </p:sp>
      <p:grpSp>
        <p:nvGrpSpPr>
          <p:cNvPr id="4" name="Group 12"/>
          <p:cNvGrpSpPr>
            <a:grpSpLocks/>
          </p:cNvGrpSpPr>
          <p:nvPr/>
        </p:nvGrpSpPr>
        <p:grpSpPr bwMode="auto">
          <a:xfrm>
            <a:off x="179388" y="58738"/>
            <a:ext cx="8964612" cy="865187"/>
            <a:chOff x="113" y="37"/>
            <a:chExt cx="5647" cy="545"/>
          </a:xfrm>
        </p:grpSpPr>
        <p:sp>
          <p:nvSpPr>
            <p:cNvPr id="5"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6"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pic>
          <p:nvPicPr>
            <p:cNvPr id="7" name="Picture 9" descr="DFID_280_SML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UK-AID-Standard-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647085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Content Placeholder 2"/>
          <p:cNvSpPr>
            <a:spLocks noGrp="1"/>
          </p:cNvSpPr>
          <p:nvPr>
            <p:ph idx="1"/>
          </p:nvPr>
        </p:nvSpPr>
        <p:spPr>
          <a:xfrm>
            <a:off x="2539206" y="549276"/>
            <a:ext cx="4718050" cy="749300"/>
          </a:xfrm>
        </p:spPr>
        <p:txBody>
          <a:bodyPr>
            <a:noAutofit/>
          </a:bodyPr>
          <a:lstStyle/>
          <a:p>
            <a:pPr marL="0" indent="0" eaLnBrk="1" hangingPunct="1">
              <a:buNone/>
            </a:pPr>
            <a:r>
              <a:rPr lang="en-US" altLang="en-US" sz="4400" b="1" dirty="0" smtClean="0">
                <a:latin typeface="Calibri" pitchFamily="34" charset="0"/>
                <a:cs typeface="Calibri" pitchFamily="34" charset="0"/>
              </a:rPr>
              <a:t>28 DFID </a:t>
            </a:r>
            <a:r>
              <a:rPr lang="en-US" altLang="en-US" sz="4400" b="1" dirty="0">
                <a:latin typeface="Calibri" pitchFamily="34" charset="0"/>
                <a:cs typeface="Calibri" pitchFamily="34" charset="0"/>
              </a:rPr>
              <a:t>p</a:t>
            </a:r>
            <a:r>
              <a:rPr lang="en-US" altLang="en-US" sz="4400" b="1" dirty="0" smtClean="0">
                <a:latin typeface="Calibri" pitchFamily="34" charset="0"/>
                <a:cs typeface="Calibri" pitchFamily="34" charset="0"/>
              </a:rPr>
              <a:t>riority countries</a:t>
            </a:r>
          </a:p>
        </p:txBody>
      </p:sp>
      <p:grpSp>
        <p:nvGrpSpPr>
          <p:cNvPr id="2" name="Group 1"/>
          <p:cNvGrpSpPr/>
          <p:nvPr/>
        </p:nvGrpSpPr>
        <p:grpSpPr>
          <a:xfrm>
            <a:off x="777081" y="2051051"/>
            <a:ext cx="7500938" cy="4260850"/>
            <a:chOff x="695325" y="1724025"/>
            <a:chExt cx="7500938" cy="4260850"/>
          </a:xfrm>
        </p:grpSpPr>
        <p:sp>
          <p:nvSpPr>
            <p:cNvPr id="47108" name="Freeform 4"/>
            <p:cNvSpPr>
              <a:spLocks/>
            </p:cNvSpPr>
            <p:nvPr>
              <p:custDataLst>
                <p:tags r:id="rId1"/>
              </p:custDataLst>
            </p:nvPr>
          </p:nvSpPr>
          <p:spPr bwMode="auto">
            <a:xfrm>
              <a:off x="2536825" y="5921375"/>
              <a:ext cx="33338"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09" name="Freeform 5"/>
            <p:cNvSpPr>
              <a:spLocks/>
            </p:cNvSpPr>
            <p:nvPr>
              <p:custDataLst>
                <p:tags r:id="rId2"/>
              </p:custDataLst>
            </p:nvPr>
          </p:nvSpPr>
          <p:spPr bwMode="auto">
            <a:xfrm>
              <a:off x="695325" y="202247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0" name="Freeform 6"/>
            <p:cNvSpPr>
              <a:spLocks/>
            </p:cNvSpPr>
            <p:nvPr>
              <p:custDataLst>
                <p:tags r:id="rId3"/>
              </p:custDataLst>
            </p:nvPr>
          </p:nvSpPr>
          <p:spPr bwMode="auto">
            <a:xfrm>
              <a:off x="1155700" y="263842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47111" name="Freeform 7"/>
            <p:cNvSpPr>
              <a:spLocks/>
            </p:cNvSpPr>
            <p:nvPr>
              <p:custDataLst>
                <p:tags r:id="rId4"/>
              </p:custDataLst>
            </p:nvPr>
          </p:nvSpPr>
          <p:spPr bwMode="auto">
            <a:xfrm>
              <a:off x="1989138" y="4200525"/>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2" name="Freeform 8"/>
            <p:cNvSpPr>
              <a:spLocks/>
            </p:cNvSpPr>
            <p:nvPr>
              <p:custDataLst>
                <p:tags r:id="rId5"/>
              </p:custDataLst>
            </p:nvPr>
          </p:nvSpPr>
          <p:spPr bwMode="auto">
            <a:xfrm>
              <a:off x="2289175" y="4752975"/>
              <a:ext cx="261938"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3" name="Freeform 9"/>
            <p:cNvSpPr>
              <a:spLocks/>
            </p:cNvSpPr>
            <p:nvPr>
              <p:custDataLst>
                <p:tags r:id="rId6"/>
              </p:custDataLst>
            </p:nvPr>
          </p:nvSpPr>
          <p:spPr bwMode="auto">
            <a:xfrm>
              <a:off x="2193925" y="4035425"/>
              <a:ext cx="966788"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4" name="Freeform 10"/>
            <p:cNvSpPr>
              <a:spLocks/>
            </p:cNvSpPr>
            <p:nvPr>
              <p:custDataLst>
                <p:tags r:id="rId7"/>
              </p:custDataLst>
            </p:nvPr>
          </p:nvSpPr>
          <p:spPr bwMode="auto">
            <a:xfrm>
              <a:off x="4306888" y="298132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5" name="Freeform 11"/>
            <p:cNvSpPr>
              <a:spLocks/>
            </p:cNvSpPr>
            <p:nvPr>
              <p:custDataLst>
                <p:tags r:id="rId8"/>
              </p:custDataLst>
            </p:nvPr>
          </p:nvSpPr>
          <p:spPr bwMode="auto">
            <a:xfrm>
              <a:off x="3805238" y="285591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16" name="Freeform 12"/>
            <p:cNvSpPr>
              <a:spLocks/>
            </p:cNvSpPr>
            <p:nvPr>
              <p:custDataLst>
                <p:tags r:id="rId9"/>
              </p:custDataLst>
            </p:nvPr>
          </p:nvSpPr>
          <p:spPr bwMode="auto">
            <a:xfrm>
              <a:off x="3886200" y="234156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9CC00"/>
            </a:solidFill>
            <a:ln w="9525" cmpd="sng">
              <a:solidFill>
                <a:srgbClr val="FFFFFF"/>
              </a:solidFill>
              <a:prstDash val="solid"/>
              <a:round/>
              <a:headEnd/>
              <a:tailEnd/>
            </a:ln>
          </p:spPr>
          <p:txBody>
            <a:bodyPr/>
            <a:lstStyle/>
            <a:p>
              <a:endParaRPr lang="en-GB"/>
            </a:p>
          </p:txBody>
        </p:sp>
        <p:sp>
          <p:nvSpPr>
            <p:cNvPr id="47117" name="Freeform 13"/>
            <p:cNvSpPr>
              <a:spLocks/>
            </p:cNvSpPr>
            <p:nvPr>
              <p:custDataLst>
                <p:tags r:id="rId10"/>
              </p:custDataLst>
            </p:nvPr>
          </p:nvSpPr>
          <p:spPr bwMode="auto">
            <a:xfrm>
              <a:off x="4244975" y="2644775"/>
              <a:ext cx="169863"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 name="Freeform 14"/>
            <p:cNvSpPr>
              <a:spLocks/>
            </p:cNvSpPr>
            <p:nvPr>
              <p:custDataLst>
                <p:tags r:id="rId11"/>
              </p:custDataLst>
            </p:nvPr>
          </p:nvSpPr>
          <p:spPr bwMode="auto">
            <a:xfrm>
              <a:off x="5737225" y="2493963"/>
              <a:ext cx="1281113" cy="1038225"/>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75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119" name="Freeform 15"/>
            <p:cNvSpPr>
              <a:spLocks/>
            </p:cNvSpPr>
            <p:nvPr>
              <p:custDataLst>
                <p:tags r:id="rId12"/>
              </p:custDataLst>
            </p:nvPr>
          </p:nvSpPr>
          <p:spPr bwMode="auto">
            <a:xfrm>
              <a:off x="4429125" y="2035175"/>
              <a:ext cx="220663"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0" name="Freeform 16"/>
            <p:cNvSpPr>
              <a:spLocks/>
            </p:cNvSpPr>
            <p:nvPr>
              <p:custDataLst>
                <p:tags r:id="rId13"/>
              </p:custDataLst>
            </p:nvPr>
          </p:nvSpPr>
          <p:spPr bwMode="auto">
            <a:xfrm>
              <a:off x="4165600" y="2452688"/>
              <a:ext cx="182563"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1" name="Freeform 17"/>
            <p:cNvSpPr>
              <a:spLocks/>
            </p:cNvSpPr>
            <p:nvPr>
              <p:custDataLst>
                <p:tags r:id="rId14"/>
              </p:custDataLst>
            </p:nvPr>
          </p:nvSpPr>
          <p:spPr bwMode="auto">
            <a:xfrm>
              <a:off x="4191000" y="270986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2" name="Freeform 18"/>
            <p:cNvSpPr>
              <a:spLocks/>
            </p:cNvSpPr>
            <p:nvPr>
              <p:custDataLst>
                <p:tags r:id="rId15"/>
              </p:custDataLst>
            </p:nvPr>
          </p:nvSpPr>
          <p:spPr bwMode="auto">
            <a:xfrm>
              <a:off x="4208463" y="2878138"/>
              <a:ext cx="33337"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3" name="Freeform 20"/>
            <p:cNvSpPr>
              <a:spLocks/>
            </p:cNvSpPr>
            <p:nvPr/>
          </p:nvSpPr>
          <p:spPr bwMode="auto">
            <a:xfrm>
              <a:off x="6775450" y="3938588"/>
              <a:ext cx="225425" cy="212725"/>
            </a:xfrm>
            <a:custGeom>
              <a:avLst/>
              <a:gdLst>
                <a:gd name="T0" fmla="*/ 2147483647 w 512"/>
                <a:gd name="T1" fmla="*/ 2147483647 h 408"/>
                <a:gd name="T2" fmla="*/ 2147483647 w 512"/>
                <a:gd name="T3" fmla="*/ 2147483647 h 408"/>
                <a:gd name="T4" fmla="*/ 2147483647 w 512"/>
                <a:gd name="T5" fmla="*/ 2147483647 h 408"/>
                <a:gd name="T6" fmla="*/ 2147483647 w 512"/>
                <a:gd name="T7" fmla="*/ 2147483647 h 408"/>
                <a:gd name="T8" fmla="*/ 2147483647 w 512"/>
                <a:gd name="T9" fmla="*/ 2147483647 h 408"/>
                <a:gd name="T10" fmla="*/ 2147483647 w 512"/>
                <a:gd name="T11" fmla="*/ 2147483647 h 408"/>
                <a:gd name="T12" fmla="*/ 2147483647 w 512"/>
                <a:gd name="T13" fmla="*/ 2147483647 h 408"/>
                <a:gd name="T14" fmla="*/ 2147483647 w 512"/>
                <a:gd name="T15" fmla="*/ 2147483647 h 408"/>
                <a:gd name="T16" fmla="*/ 2147483647 w 512"/>
                <a:gd name="T17" fmla="*/ 2147483647 h 408"/>
                <a:gd name="T18" fmla="*/ 2147483647 w 512"/>
                <a:gd name="T19" fmla="*/ 2147483647 h 408"/>
                <a:gd name="T20" fmla="*/ 2147483647 w 512"/>
                <a:gd name="T21" fmla="*/ 2147483647 h 408"/>
                <a:gd name="T22" fmla="*/ 2147483647 w 512"/>
                <a:gd name="T23" fmla="*/ 2147483647 h 408"/>
                <a:gd name="T24" fmla="*/ 2147483647 w 512"/>
                <a:gd name="T25" fmla="*/ 2147483647 h 408"/>
                <a:gd name="T26" fmla="*/ 2147483647 w 512"/>
                <a:gd name="T27" fmla="*/ 2147483647 h 408"/>
                <a:gd name="T28" fmla="*/ 2147483647 w 512"/>
                <a:gd name="T29" fmla="*/ 2147483647 h 408"/>
                <a:gd name="T30" fmla="*/ 2147483647 w 512"/>
                <a:gd name="T31" fmla="*/ 2147483647 h 408"/>
                <a:gd name="T32" fmla="*/ 2147483647 w 512"/>
                <a:gd name="T33" fmla="*/ 2147483647 h 408"/>
                <a:gd name="T34" fmla="*/ 2147483647 w 512"/>
                <a:gd name="T35" fmla="*/ 2147483647 h 408"/>
                <a:gd name="T36" fmla="*/ 2147483647 w 512"/>
                <a:gd name="T37" fmla="*/ 2147483647 h 408"/>
                <a:gd name="T38" fmla="*/ 2147483647 w 512"/>
                <a:gd name="T39" fmla="*/ 2147483647 h 408"/>
                <a:gd name="T40" fmla="*/ 2147483647 w 512"/>
                <a:gd name="T41" fmla="*/ 2147483647 h 408"/>
                <a:gd name="T42" fmla="*/ 2147483647 w 512"/>
                <a:gd name="T43" fmla="*/ 2147483647 h 408"/>
                <a:gd name="T44" fmla="*/ 2147483647 w 512"/>
                <a:gd name="T45" fmla="*/ 2147483647 h 408"/>
                <a:gd name="T46" fmla="*/ 2147483647 w 512"/>
                <a:gd name="T47" fmla="*/ 2147483647 h 408"/>
                <a:gd name="T48" fmla="*/ 2147483647 w 512"/>
                <a:gd name="T49" fmla="*/ 2147483647 h 408"/>
                <a:gd name="T50" fmla="*/ 2147483647 w 512"/>
                <a:gd name="T51" fmla="*/ 2147483647 h 408"/>
                <a:gd name="T52" fmla="*/ 2147483647 w 512"/>
                <a:gd name="T53" fmla="*/ 2147483647 h 408"/>
                <a:gd name="T54" fmla="*/ 2147483647 w 512"/>
                <a:gd name="T55" fmla="*/ 2147483647 h 408"/>
                <a:gd name="T56" fmla="*/ 2147483647 w 512"/>
                <a:gd name="T57" fmla="*/ 2147483647 h 408"/>
                <a:gd name="T58" fmla="*/ 2147483647 w 512"/>
                <a:gd name="T59" fmla="*/ 2147483647 h 408"/>
                <a:gd name="T60" fmla="*/ 2147483647 w 512"/>
                <a:gd name="T61" fmla="*/ 2147483647 h 408"/>
                <a:gd name="T62" fmla="*/ 2147483647 w 512"/>
                <a:gd name="T63" fmla="*/ 2147483647 h 408"/>
                <a:gd name="T64" fmla="*/ 2147483647 w 512"/>
                <a:gd name="T65" fmla="*/ 2147483647 h 408"/>
                <a:gd name="T66" fmla="*/ 2147483647 w 512"/>
                <a:gd name="T67" fmla="*/ 2147483647 h 408"/>
                <a:gd name="T68" fmla="*/ 2147483647 w 512"/>
                <a:gd name="T69" fmla="*/ 2147483647 h 408"/>
                <a:gd name="T70" fmla="*/ 2147483647 w 512"/>
                <a:gd name="T71" fmla="*/ 2147483647 h 408"/>
                <a:gd name="T72" fmla="*/ 2147483647 w 512"/>
                <a:gd name="T73" fmla="*/ 2147483647 h 408"/>
                <a:gd name="T74" fmla="*/ 2147483647 w 512"/>
                <a:gd name="T75" fmla="*/ 2147483647 h 408"/>
                <a:gd name="T76" fmla="*/ 2147483647 w 512"/>
                <a:gd name="T77" fmla="*/ 2147483647 h 408"/>
                <a:gd name="T78" fmla="*/ 2147483647 w 512"/>
                <a:gd name="T79" fmla="*/ 2147483647 h 408"/>
                <a:gd name="T80" fmla="*/ 2147483647 w 512"/>
                <a:gd name="T81" fmla="*/ 2147483647 h 408"/>
                <a:gd name="T82" fmla="*/ 2147483647 w 512"/>
                <a:gd name="T83" fmla="*/ 2147483647 h 408"/>
                <a:gd name="T84" fmla="*/ 2147483647 w 512"/>
                <a:gd name="T85" fmla="*/ 2147483647 h 408"/>
                <a:gd name="T86" fmla="*/ 2147483647 w 512"/>
                <a:gd name="T87" fmla="*/ 2147483647 h 408"/>
                <a:gd name="T88" fmla="*/ 2147483647 w 512"/>
                <a:gd name="T89" fmla="*/ 2147483647 h 408"/>
                <a:gd name="T90" fmla="*/ 2147483647 w 512"/>
                <a:gd name="T91" fmla="*/ 2147483647 h 408"/>
                <a:gd name="T92" fmla="*/ 2147483647 w 512"/>
                <a:gd name="T93" fmla="*/ 2147483647 h 408"/>
                <a:gd name="T94" fmla="*/ 2147483647 w 512"/>
                <a:gd name="T95" fmla="*/ 2147483647 h 408"/>
                <a:gd name="T96" fmla="*/ 2147483647 w 512"/>
                <a:gd name="T97" fmla="*/ 2147483647 h 408"/>
                <a:gd name="T98" fmla="*/ 2147483647 w 512"/>
                <a:gd name="T99" fmla="*/ 0 h 408"/>
                <a:gd name="T100" fmla="*/ 2147483647 w 512"/>
                <a:gd name="T101" fmla="*/ 2147483647 h 408"/>
                <a:gd name="T102" fmla="*/ 2147483647 w 512"/>
                <a:gd name="T103" fmla="*/ 2147483647 h 408"/>
                <a:gd name="T104" fmla="*/ 2147483647 w 512"/>
                <a:gd name="T105" fmla="*/ 2147483647 h 408"/>
                <a:gd name="T106" fmla="*/ 2147483647 w 512"/>
                <a:gd name="T107" fmla="*/ 2147483647 h 408"/>
                <a:gd name="T108" fmla="*/ 2147483647 w 512"/>
                <a:gd name="T109" fmla="*/ 2147483647 h 408"/>
                <a:gd name="T110" fmla="*/ 2147483647 w 512"/>
                <a:gd name="T111" fmla="*/ 2147483647 h 408"/>
                <a:gd name="T112" fmla="*/ 2147483647 w 512"/>
                <a:gd name="T113" fmla="*/ 2147483647 h 408"/>
                <a:gd name="T114" fmla="*/ 2147483647 w 512"/>
                <a:gd name="T115" fmla="*/ 214748364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4" name="Freeform 21"/>
            <p:cNvSpPr>
              <a:spLocks/>
            </p:cNvSpPr>
            <p:nvPr/>
          </p:nvSpPr>
          <p:spPr bwMode="auto">
            <a:xfrm>
              <a:off x="6527800" y="3983038"/>
              <a:ext cx="101600" cy="152400"/>
            </a:xfrm>
            <a:custGeom>
              <a:avLst/>
              <a:gdLst>
                <a:gd name="T0" fmla="*/ 2147483647 w 232"/>
                <a:gd name="T1" fmla="*/ 2147483647 h 289"/>
                <a:gd name="T2" fmla="*/ 2147483647 w 232"/>
                <a:gd name="T3" fmla="*/ 2147483647 h 289"/>
                <a:gd name="T4" fmla="*/ 2147483647 w 232"/>
                <a:gd name="T5" fmla="*/ 2147483647 h 289"/>
                <a:gd name="T6" fmla="*/ 2147483647 w 232"/>
                <a:gd name="T7" fmla="*/ 2147483647 h 289"/>
                <a:gd name="T8" fmla="*/ 2147483647 w 232"/>
                <a:gd name="T9" fmla="*/ 2147483647 h 289"/>
                <a:gd name="T10" fmla="*/ 2147483647 w 232"/>
                <a:gd name="T11" fmla="*/ 2147483647 h 289"/>
                <a:gd name="T12" fmla="*/ 2147483647 w 232"/>
                <a:gd name="T13" fmla="*/ 2147483647 h 289"/>
                <a:gd name="T14" fmla="*/ 2147483647 w 232"/>
                <a:gd name="T15" fmla="*/ 2147483647 h 289"/>
                <a:gd name="T16" fmla="*/ 2147483647 w 232"/>
                <a:gd name="T17" fmla="*/ 2147483647 h 289"/>
                <a:gd name="T18" fmla="*/ 2147483647 w 232"/>
                <a:gd name="T19" fmla="*/ 2147483647 h 289"/>
                <a:gd name="T20" fmla="*/ 2147483647 w 232"/>
                <a:gd name="T21" fmla="*/ 2147483647 h 289"/>
                <a:gd name="T22" fmla="*/ 2147483647 w 232"/>
                <a:gd name="T23" fmla="*/ 2147483647 h 289"/>
                <a:gd name="T24" fmla="*/ 2147483647 w 232"/>
                <a:gd name="T25" fmla="*/ 2147483647 h 289"/>
                <a:gd name="T26" fmla="*/ 2147483647 w 232"/>
                <a:gd name="T27" fmla="*/ 2147483647 h 289"/>
                <a:gd name="T28" fmla="*/ 2147483647 w 232"/>
                <a:gd name="T29" fmla="*/ 2147483647 h 289"/>
                <a:gd name="T30" fmla="*/ 2147483647 w 232"/>
                <a:gd name="T31" fmla="*/ 2147483647 h 289"/>
                <a:gd name="T32" fmla="*/ 2147483647 w 232"/>
                <a:gd name="T33" fmla="*/ 2147483647 h 289"/>
                <a:gd name="T34" fmla="*/ 2147483647 w 232"/>
                <a:gd name="T35" fmla="*/ 2147483647 h 289"/>
                <a:gd name="T36" fmla="*/ 0 w 232"/>
                <a:gd name="T37" fmla="*/ 2147483647 h 289"/>
                <a:gd name="T38" fmla="*/ 0 w 232"/>
                <a:gd name="T39" fmla="*/ 2147483647 h 289"/>
                <a:gd name="T40" fmla="*/ 2147483647 w 232"/>
                <a:gd name="T41" fmla="*/ 2147483647 h 289"/>
                <a:gd name="T42" fmla="*/ 2147483647 w 232"/>
                <a:gd name="T43" fmla="*/ 2147483647 h 289"/>
                <a:gd name="T44" fmla="*/ 2147483647 w 232"/>
                <a:gd name="T45" fmla="*/ 2147483647 h 289"/>
                <a:gd name="T46" fmla="*/ 2147483647 w 232"/>
                <a:gd name="T47" fmla="*/ 2147483647 h 289"/>
                <a:gd name="T48" fmla="*/ 2147483647 w 232"/>
                <a:gd name="T49" fmla="*/ 0 h 289"/>
                <a:gd name="T50" fmla="*/ 2147483647 w 232"/>
                <a:gd name="T51" fmla="*/ 2147483647 h 289"/>
                <a:gd name="T52" fmla="*/ 2147483647 w 232"/>
                <a:gd name="T53" fmla="*/ 2147483647 h 289"/>
                <a:gd name="T54" fmla="*/ 2147483647 w 232"/>
                <a:gd name="T55" fmla="*/ 2147483647 h 289"/>
                <a:gd name="T56" fmla="*/ 2147483647 w 232"/>
                <a:gd name="T57" fmla="*/ 2147483647 h 289"/>
                <a:gd name="T58" fmla="*/ 2147483647 w 232"/>
                <a:gd name="T59" fmla="*/ 2147483647 h 289"/>
                <a:gd name="T60" fmla="*/ 2147483647 w 232"/>
                <a:gd name="T61" fmla="*/ 2147483647 h 289"/>
                <a:gd name="T62" fmla="*/ 2147483647 w 232"/>
                <a:gd name="T63" fmla="*/ 2147483647 h 289"/>
                <a:gd name="T64" fmla="*/ 2147483647 w 232"/>
                <a:gd name="T65" fmla="*/ 2147483647 h 289"/>
                <a:gd name="T66" fmla="*/ 2147483647 w 232"/>
                <a:gd name="T67" fmla="*/ 2147483647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5" name="Freeform 22"/>
            <p:cNvSpPr>
              <a:spLocks/>
            </p:cNvSpPr>
            <p:nvPr>
              <p:custDataLst>
                <p:tags r:id="rId16"/>
              </p:custDataLst>
            </p:nvPr>
          </p:nvSpPr>
          <p:spPr bwMode="auto">
            <a:xfrm>
              <a:off x="4549775" y="1814513"/>
              <a:ext cx="3065463"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6" name="Freeform 23"/>
            <p:cNvSpPr>
              <a:spLocks/>
            </p:cNvSpPr>
            <p:nvPr>
              <p:custDataLst>
                <p:tags r:id="rId17"/>
              </p:custDataLst>
            </p:nvPr>
          </p:nvSpPr>
          <p:spPr bwMode="auto">
            <a:xfrm>
              <a:off x="3813175" y="2801938"/>
              <a:ext cx="280988"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27" name="Freeform 24"/>
            <p:cNvSpPr>
              <a:spLocks/>
            </p:cNvSpPr>
            <p:nvPr>
              <p:custDataLst>
                <p:tags r:id="rId18"/>
              </p:custDataLst>
            </p:nvPr>
          </p:nvSpPr>
          <p:spPr bwMode="auto">
            <a:xfrm>
              <a:off x="6445250" y="3540125"/>
              <a:ext cx="207963"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a:p>
          </p:txBody>
        </p:sp>
        <p:sp>
          <p:nvSpPr>
            <p:cNvPr id="47128" name="Freeform 25"/>
            <p:cNvSpPr>
              <a:spLocks/>
            </p:cNvSpPr>
            <p:nvPr>
              <p:custDataLst>
                <p:tags r:id="rId19"/>
              </p:custDataLst>
            </p:nvPr>
          </p:nvSpPr>
          <p:spPr bwMode="auto">
            <a:xfrm>
              <a:off x="2554288" y="5927725"/>
              <a:ext cx="23812"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47129" name="Line 26" descr="Horizontal dunkel"/>
            <p:cNvSpPr>
              <a:spLocks noChangeShapeType="1"/>
            </p:cNvSpPr>
            <p:nvPr>
              <p:custDataLst>
                <p:tags r:id="rId20"/>
              </p:custDataLst>
            </p:nvPr>
          </p:nvSpPr>
          <p:spPr bwMode="auto">
            <a:xfrm>
              <a:off x="1016000" y="284956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30" name="Freeform 27"/>
            <p:cNvSpPr>
              <a:spLocks/>
            </p:cNvSpPr>
            <p:nvPr>
              <p:custDataLst>
                <p:tags r:id="rId21"/>
              </p:custDataLst>
            </p:nvPr>
          </p:nvSpPr>
          <p:spPr bwMode="auto">
            <a:xfrm>
              <a:off x="1019175" y="284638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47131" name="Freeform 28"/>
            <p:cNvSpPr>
              <a:spLocks/>
            </p:cNvSpPr>
            <p:nvPr>
              <p:custDataLst>
                <p:tags r:id="rId22"/>
              </p:custDataLst>
            </p:nvPr>
          </p:nvSpPr>
          <p:spPr bwMode="auto">
            <a:xfrm>
              <a:off x="995363" y="2900363"/>
              <a:ext cx="23812"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47132" name="Freeform 29"/>
            <p:cNvSpPr>
              <a:spLocks/>
            </p:cNvSpPr>
            <p:nvPr>
              <p:custDataLst>
                <p:tags r:id="rId23"/>
              </p:custDataLst>
            </p:nvPr>
          </p:nvSpPr>
          <p:spPr bwMode="auto">
            <a:xfrm>
              <a:off x="2320925" y="2895600"/>
              <a:ext cx="49213"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47133" name="Freeform 30"/>
            <p:cNvSpPr>
              <a:spLocks/>
            </p:cNvSpPr>
            <p:nvPr>
              <p:custDataLst>
                <p:tags r:id="rId24"/>
              </p:custDataLst>
            </p:nvPr>
          </p:nvSpPr>
          <p:spPr bwMode="auto">
            <a:xfrm>
              <a:off x="5059363" y="2452688"/>
              <a:ext cx="874712"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47134" name="Freeform 31"/>
            <p:cNvSpPr>
              <a:spLocks/>
            </p:cNvSpPr>
            <p:nvPr>
              <p:custDataLst>
                <p:tags r:id="rId25"/>
              </p:custDataLst>
            </p:nvPr>
          </p:nvSpPr>
          <p:spPr bwMode="auto">
            <a:xfrm>
              <a:off x="5289550" y="275590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31" name="Freeform 32"/>
            <p:cNvSpPr>
              <a:spLocks/>
            </p:cNvSpPr>
            <p:nvPr>
              <p:custDataLst>
                <p:tags r:id="rId26"/>
              </p:custDataLst>
            </p:nvPr>
          </p:nvSpPr>
          <p:spPr bwMode="auto">
            <a:xfrm>
              <a:off x="4097338" y="3759200"/>
              <a:ext cx="296862" cy="288925"/>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136" name="Freeform 33"/>
            <p:cNvSpPr>
              <a:spLocks/>
            </p:cNvSpPr>
            <p:nvPr>
              <p:custDataLst>
                <p:tags r:id="rId27"/>
              </p:custDataLst>
            </p:nvPr>
          </p:nvSpPr>
          <p:spPr bwMode="auto">
            <a:xfrm>
              <a:off x="4940300" y="362426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47137" name="Freeform 34"/>
            <p:cNvSpPr>
              <a:spLocks/>
            </p:cNvSpPr>
            <p:nvPr>
              <p:custDataLst>
                <p:tags r:id="rId28"/>
              </p:custDataLst>
            </p:nvPr>
          </p:nvSpPr>
          <p:spPr bwMode="auto">
            <a:xfrm>
              <a:off x="4402138" y="2628900"/>
              <a:ext cx="125412"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38" name="Freeform 35"/>
            <p:cNvSpPr>
              <a:spLocks/>
            </p:cNvSpPr>
            <p:nvPr>
              <p:custDataLst>
                <p:tags r:id="rId29"/>
              </p:custDataLst>
            </p:nvPr>
          </p:nvSpPr>
          <p:spPr bwMode="auto">
            <a:xfrm>
              <a:off x="5265738" y="334962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47139" name="Freeform 36"/>
            <p:cNvSpPr>
              <a:spLocks/>
            </p:cNvSpPr>
            <p:nvPr>
              <p:custDataLst>
                <p:tags r:id="rId30"/>
              </p:custDataLst>
            </p:nvPr>
          </p:nvSpPr>
          <p:spPr bwMode="auto">
            <a:xfrm>
              <a:off x="5384800" y="3354388"/>
              <a:ext cx="14288"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47140" name="Freeform 37"/>
            <p:cNvSpPr>
              <a:spLocks/>
            </p:cNvSpPr>
            <p:nvPr>
              <p:custDataLst>
                <p:tags r:id="rId31"/>
              </p:custDataLst>
            </p:nvPr>
          </p:nvSpPr>
          <p:spPr bwMode="auto">
            <a:xfrm>
              <a:off x="6872288" y="401478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47141" name="Freeform 39"/>
            <p:cNvSpPr>
              <a:spLocks/>
            </p:cNvSpPr>
            <p:nvPr/>
          </p:nvSpPr>
          <p:spPr bwMode="auto">
            <a:xfrm>
              <a:off x="2724150" y="5826125"/>
              <a:ext cx="26988" cy="46038"/>
            </a:xfrm>
            <a:custGeom>
              <a:avLst/>
              <a:gdLst>
                <a:gd name="T0" fmla="*/ 2147483647 w 59"/>
                <a:gd name="T1" fmla="*/ 2147483647 h 43"/>
                <a:gd name="T2" fmla="*/ 2147483647 w 59"/>
                <a:gd name="T3" fmla="*/ 2147483647 h 43"/>
                <a:gd name="T4" fmla="*/ 2147483647 w 59"/>
                <a:gd name="T5" fmla="*/ 2147483647 h 43"/>
                <a:gd name="T6" fmla="*/ 2147483647 w 59"/>
                <a:gd name="T7" fmla="*/ 2147483647 h 43"/>
                <a:gd name="T8" fmla="*/ 2147483647 w 59"/>
                <a:gd name="T9" fmla="*/ 2147483647 h 43"/>
                <a:gd name="T10" fmla="*/ 2147483647 w 59"/>
                <a:gd name="T11" fmla="*/ 0 h 43"/>
                <a:gd name="T12" fmla="*/ 2147483647 w 59"/>
                <a:gd name="T13" fmla="*/ 2147483647 h 43"/>
                <a:gd name="T14" fmla="*/ 2147483647 w 59"/>
                <a:gd name="T15" fmla="*/ 2147483647 h 43"/>
                <a:gd name="T16" fmla="*/ 2147483647 w 59"/>
                <a:gd name="T17" fmla="*/ 2147483647 h 43"/>
                <a:gd name="T18" fmla="*/ 2147483647 w 59"/>
                <a:gd name="T19" fmla="*/ 2147483647 h 43"/>
                <a:gd name="T20" fmla="*/ 2147483647 w 59"/>
                <a:gd name="T21" fmla="*/ 2147483647 h 43"/>
                <a:gd name="T22" fmla="*/ 2147483647 w 59"/>
                <a:gd name="T23" fmla="*/ 2147483647 h 43"/>
                <a:gd name="T24" fmla="*/ 2147483647 w 59"/>
                <a:gd name="T25" fmla="*/ 2147483647 h 43"/>
                <a:gd name="T26" fmla="*/ 2147483647 w 59"/>
                <a:gd name="T27" fmla="*/ 2147483647 h 43"/>
                <a:gd name="T28" fmla="*/ 2147483647 w 59"/>
                <a:gd name="T29" fmla="*/ 2147483647 h 43"/>
                <a:gd name="T30" fmla="*/ 0 w 59"/>
                <a:gd name="T31" fmla="*/ 2147483647 h 43"/>
                <a:gd name="T32" fmla="*/ 2147483647 w 59"/>
                <a:gd name="T33" fmla="*/ 2147483647 h 43"/>
                <a:gd name="T34" fmla="*/ 2147483647 w 59"/>
                <a:gd name="T35" fmla="*/ 2147483647 h 43"/>
                <a:gd name="T36" fmla="*/ 2147483647 w 59"/>
                <a:gd name="T37" fmla="*/ 2147483647 h 43"/>
                <a:gd name="T38" fmla="*/ 2147483647 w 59"/>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47142" name="Freeform 40"/>
            <p:cNvSpPr>
              <a:spLocks/>
            </p:cNvSpPr>
            <p:nvPr/>
          </p:nvSpPr>
          <p:spPr bwMode="auto">
            <a:xfrm>
              <a:off x="2760663" y="5822950"/>
              <a:ext cx="28575" cy="55563"/>
            </a:xfrm>
            <a:custGeom>
              <a:avLst/>
              <a:gdLst>
                <a:gd name="T0" fmla="*/ 0 w 67"/>
                <a:gd name="T1" fmla="*/ 2147483647 h 51"/>
                <a:gd name="T2" fmla="*/ 2147483647 w 67"/>
                <a:gd name="T3" fmla="*/ 2147483647 h 51"/>
                <a:gd name="T4" fmla="*/ 2147483647 w 67"/>
                <a:gd name="T5" fmla="*/ 0 h 51"/>
                <a:gd name="T6" fmla="*/ 2147483647 w 67"/>
                <a:gd name="T7" fmla="*/ 2147483647 h 51"/>
                <a:gd name="T8" fmla="*/ 2147483647 w 67"/>
                <a:gd name="T9" fmla="*/ 2147483647 h 51"/>
                <a:gd name="T10" fmla="*/ 2147483647 w 67"/>
                <a:gd name="T11" fmla="*/ 2147483647 h 51"/>
                <a:gd name="T12" fmla="*/ 2147483647 w 67"/>
                <a:gd name="T13" fmla="*/ 2147483647 h 51"/>
                <a:gd name="T14" fmla="*/ 2147483647 w 67"/>
                <a:gd name="T15" fmla="*/ 2147483647 h 51"/>
                <a:gd name="T16" fmla="*/ 2147483647 w 67"/>
                <a:gd name="T17" fmla="*/ 2147483647 h 51"/>
                <a:gd name="T18" fmla="*/ 2147483647 w 67"/>
                <a:gd name="T19" fmla="*/ 2147483647 h 51"/>
                <a:gd name="T20" fmla="*/ 2147483647 w 67"/>
                <a:gd name="T21" fmla="*/ 2147483647 h 51"/>
                <a:gd name="T22" fmla="*/ 2147483647 w 67"/>
                <a:gd name="T23" fmla="*/ 2147483647 h 51"/>
                <a:gd name="T24" fmla="*/ 2147483647 w 67"/>
                <a:gd name="T25" fmla="*/ 2147483647 h 51"/>
                <a:gd name="T26" fmla="*/ 2147483647 w 67"/>
                <a:gd name="T27" fmla="*/ 2147483647 h 51"/>
                <a:gd name="T28" fmla="*/ 2147483647 w 67"/>
                <a:gd name="T29" fmla="*/ 2147483647 h 51"/>
                <a:gd name="T30" fmla="*/ 2147483647 w 67"/>
                <a:gd name="T31" fmla="*/ 2147483647 h 51"/>
                <a:gd name="T32" fmla="*/ 2147483647 w 67"/>
                <a:gd name="T33" fmla="*/ 2147483647 h 51"/>
                <a:gd name="T34" fmla="*/ 2147483647 w 67"/>
                <a:gd name="T35" fmla="*/ 2147483647 h 51"/>
                <a:gd name="T36" fmla="*/ 2147483647 w 67"/>
                <a:gd name="T37" fmla="*/ 2147483647 h 51"/>
                <a:gd name="T38" fmla="*/ 2147483647 w 67"/>
                <a:gd name="T39" fmla="*/ 2147483647 h 51"/>
                <a:gd name="T40" fmla="*/ 0 w 67"/>
                <a:gd name="T41" fmla="*/ 2147483647 h 51"/>
                <a:gd name="T42" fmla="*/ 0 w 67"/>
                <a:gd name="T43" fmla="*/ 2147483647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sp>
          <p:nvSpPr>
            <p:cNvPr id="47143" name="Freeform 41"/>
            <p:cNvSpPr>
              <a:spLocks/>
            </p:cNvSpPr>
            <p:nvPr>
              <p:custDataLst>
                <p:tags r:id="rId32"/>
              </p:custDataLst>
            </p:nvPr>
          </p:nvSpPr>
          <p:spPr bwMode="auto">
            <a:xfrm>
              <a:off x="2371725" y="361791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47144" name="Freeform 42"/>
            <p:cNvSpPr>
              <a:spLocks/>
            </p:cNvSpPr>
            <p:nvPr>
              <p:custDataLst>
                <p:tags r:id="rId33"/>
              </p:custDataLst>
            </p:nvPr>
          </p:nvSpPr>
          <p:spPr bwMode="auto">
            <a:xfrm>
              <a:off x="2427288" y="3624263"/>
              <a:ext cx="1587"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47145" name="Freeform 43"/>
            <p:cNvSpPr>
              <a:spLocks/>
            </p:cNvSpPr>
            <p:nvPr>
              <p:custDataLst>
                <p:tags r:id="rId34"/>
              </p:custDataLst>
            </p:nvPr>
          </p:nvSpPr>
          <p:spPr bwMode="auto">
            <a:xfrm>
              <a:off x="2439988" y="362585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46" name="Freeform 44"/>
            <p:cNvSpPr>
              <a:spLocks/>
            </p:cNvSpPr>
            <p:nvPr>
              <p:custDataLst>
                <p:tags r:id="rId35"/>
              </p:custDataLst>
            </p:nvPr>
          </p:nvSpPr>
          <p:spPr bwMode="auto">
            <a:xfrm>
              <a:off x="2454275" y="3616325"/>
              <a:ext cx="7938"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147" name="Freeform 45"/>
            <p:cNvSpPr>
              <a:spLocks/>
            </p:cNvSpPr>
            <p:nvPr>
              <p:custDataLst>
                <p:tags r:id="rId36"/>
              </p:custDataLst>
            </p:nvPr>
          </p:nvSpPr>
          <p:spPr bwMode="auto">
            <a:xfrm>
              <a:off x="2433638" y="3608388"/>
              <a:ext cx="11112"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48" name="Freeform 46"/>
            <p:cNvSpPr>
              <a:spLocks/>
            </p:cNvSpPr>
            <p:nvPr>
              <p:custDataLst>
                <p:tags r:id="rId37"/>
              </p:custDataLst>
            </p:nvPr>
          </p:nvSpPr>
          <p:spPr bwMode="auto">
            <a:xfrm>
              <a:off x="2482850" y="3636963"/>
              <a:ext cx="14288"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47149" name="Line 47"/>
            <p:cNvSpPr>
              <a:spLocks noChangeShapeType="1"/>
            </p:cNvSpPr>
            <p:nvPr>
              <p:custDataLst>
                <p:tags r:id="rId38"/>
              </p:custDataLst>
            </p:nvPr>
          </p:nvSpPr>
          <p:spPr bwMode="auto">
            <a:xfrm flipH="1" flipV="1">
              <a:off x="2490788" y="363378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50" name="Line 48"/>
            <p:cNvSpPr>
              <a:spLocks noChangeShapeType="1"/>
            </p:cNvSpPr>
            <p:nvPr>
              <p:custDataLst>
                <p:tags r:id="rId39"/>
              </p:custDataLst>
            </p:nvPr>
          </p:nvSpPr>
          <p:spPr bwMode="auto">
            <a:xfrm flipH="1">
              <a:off x="2490788" y="365918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51" name="Freeform 49"/>
            <p:cNvSpPr>
              <a:spLocks/>
            </p:cNvSpPr>
            <p:nvPr>
              <p:custDataLst>
                <p:tags r:id="rId40"/>
              </p:custDataLst>
            </p:nvPr>
          </p:nvSpPr>
          <p:spPr bwMode="auto">
            <a:xfrm>
              <a:off x="2490788" y="3654425"/>
              <a:ext cx="11112"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152" name="Freeform 50"/>
            <p:cNvSpPr>
              <a:spLocks/>
            </p:cNvSpPr>
            <p:nvPr>
              <p:custDataLst>
                <p:tags r:id="rId41"/>
              </p:custDataLst>
            </p:nvPr>
          </p:nvSpPr>
          <p:spPr bwMode="auto">
            <a:xfrm>
              <a:off x="2497138" y="3683000"/>
              <a:ext cx="17462"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47153" name="Freeform 51"/>
            <p:cNvSpPr>
              <a:spLocks/>
            </p:cNvSpPr>
            <p:nvPr>
              <p:custDataLst>
                <p:tags r:id="rId42"/>
              </p:custDataLst>
            </p:nvPr>
          </p:nvSpPr>
          <p:spPr bwMode="auto">
            <a:xfrm>
              <a:off x="2503488" y="373062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54" name="Freeform 52"/>
            <p:cNvSpPr>
              <a:spLocks/>
            </p:cNvSpPr>
            <p:nvPr>
              <p:custDataLst>
                <p:tags r:id="rId43"/>
              </p:custDataLst>
            </p:nvPr>
          </p:nvSpPr>
          <p:spPr bwMode="auto">
            <a:xfrm>
              <a:off x="2513013" y="375602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47155" name="Freeform 53"/>
            <p:cNvSpPr>
              <a:spLocks/>
            </p:cNvSpPr>
            <p:nvPr>
              <p:custDataLst>
                <p:tags r:id="rId44"/>
              </p:custDataLst>
            </p:nvPr>
          </p:nvSpPr>
          <p:spPr bwMode="auto">
            <a:xfrm>
              <a:off x="2535238" y="3786188"/>
              <a:ext cx="1587"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56" name="Freeform 54"/>
            <p:cNvSpPr>
              <a:spLocks/>
            </p:cNvSpPr>
            <p:nvPr>
              <p:custDataLst>
                <p:tags r:id="rId45"/>
              </p:custDataLst>
            </p:nvPr>
          </p:nvSpPr>
          <p:spPr bwMode="auto">
            <a:xfrm>
              <a:off x="2497138" y="379888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157" name="Freeform 55"/>
            <p:cNvSpPr>
              <a:spLocks/>
            </p:cNvSpPr>
            <p:nvPr>
              <p:custDataLst>
                <p:tags r:id="rId46"/>
              </p:custDataLst>
            </p:nvPr>
          </p:nvSpPr>
          <p:spPr bwMode="auto">
            <a:xfrm>
              <a:off x="2482850" y="3863975"/>
              <a:ext cx="23813"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47158" name="Freeform 56"/>
            <p:cNvSpPr>
              <a:spLocks/>
            </p:cNvSpPr>
            <p:nvPr>
              <p:custDataLst>
                <p:tags r:id="rId47"/>
              </p:custDataLst>
            </p:nvPr>
          </p:nvSpPr>
          <p:spPr bwMode="auto">
            <a:xfrm>
              <a:off x="2501900" y="384016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59" name="Freeform 57"/>
            <p:cNvSpPr>
              <a:spLocks/>
            </p:cNvSpPr>
            <p:nvPr>
              <p:custDataLst>
                <p:tags r:id="rId48"/>
              </p:custDataLst>
            </p:nvPr>
          </p:nvSpPr>
          <p:spPr bwMode="auto">
            <a:xfrm>
              <a:off x="1984375" y="351155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60" name="Freeform 59"/>
            <p:cNvSpPr>
              <a:spLocks/>
            </p:cNvSpPr>
            <p:nvPr/>
          </p:nvSpPr>
          <p:spPr bwMode="auto">
            <a:xfrm>
              <a:off x="2211388" y="3527425"/>
              <a:ext cx="22225" cy="12700"/>
            </a:xfrm>
            <a:custGeom>
              <a:avLst/>
              <a:gdLst>
                <a:gd name="T0" fmla="*/ 0 w 52"/>
                <a:gd name="T1" fmla="*/ 2147483647 h 25"/>
                <a:gd name="T2" fmla="*/ 2147483647 w 52"/>
                <a:gd name="T3" fmla="*/ 2147483647 h 25"/>
                <a:gd name="T4" fmla="*/ 2147483647 w 52"/>
                <a:gd name="T5" fmla="*/ 2147483647 h 25"/>
                <a:gd name="T6" fmla="*/ 2147483647 w 52"/>
                <a:gd name="T7" fmla="*/ 2147483647 h 25"/>
                <a:gd name="T8" fmla="*/ 2147483647 w 52"/>
                <a:gd name="T9" fmla="*/ 2147483647 h 25"/>
                <a:gd name="T10" fmla="*/ 2147483647 w 52"/>
                <a:gd name="T11" fmla="*/ 2147483647 h 25"/>
                <a:gd name="T12" fmla="*/ 2147483647 w 52"/>
                <a:gd name="T13" fmla="*/ 2147483647 h 25"/>
                <a:gd name="T14" fmla="*/ 2147483647 w 52"/>
                <a:gd name="T15" fmla="*/ 2147483647 h 25"/>
                <a:gd name="T16" fmla="*/ 2147483647 w 52"/>
                <a:gd name="T17" fmla="*/ 0 h 25"/>
                <a:gd name="T18" fmla="*/ 2147483647 w 52"/>
                <a:gd name="T19" fmla="*/ 0 h 25"/>
                <a:gd name="T20" fmla="*/ 2147483647 w 52"/>
                <a:gd name="T21" fmla="*/ 0 h 25"/>
                <a:gd name="T22" fmla="*/ 2147483647 w 52"/>
                <a:gd name="T23" fmla="*/ 2147483647 h 25"/>
                <a:gd name="T24" fmla="*/ 2147483647 w 52"/>
                <a:gd name="T25" fmla="*/ 2147483647 h 25"/>
                <a:gd name="T26" fmla="*/ 2147483647 w 52"/>
                <a:gd name="T27" fmla="*/ 2147483647 h 25"/>
                <a:gd name="T28" fmla="*/ 2147483647 w 52"/>
                <a:gd name="T29" fmla="*/ 2147483647 h 25"/>
                <a:gd name="T30" fmla="*/ 2147483647 w 52"/>
                <a:gd name="T31" fmla="*/ 2147483647 h 25"/>
                <a:gd name="T32" fmla="*/ 0 w 52"/>
                <a:gd name="T33" fmla="*/ 2147483647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47161" name="Freeform 60"/>
            <p:cNvSpPr>
              <a:spLocks/>
            </p:cNvSpPr>
            <p:nvPr/>
          </p:nvSpPr>
          <p:spPr bwMode="auto">
            <a:xfrm>
              <a:off x="2109788" y="3360738"/>
              <a:ext cx="14287" cy="6350"/>
            </a:xfrm>
            <a:custGeom>
              <a:avLst/>
              <a:gdLst>
                <a:gd name="T0" fmla="*/ 0 w 33"/>
                <a:gd name="T1" fmla="*/ 0 h 13"/>
                <a:gd name="T2" fmla="*/ 0 w 33"/>
                <a:gd name="T3" fmla="*/ 2147483647 h 13"/>
                <a:gd name="T4" fmla="*/ 0 w 33"/>
                <a:gd name="T5" fmla="*/ 2147483647 h 13"/>
                <a:gd name="T6" fmla="*/ 2147483647 w 33"/>
                <a:gd name="T7" fmla="*/ 2147483647 h 13"/>
                <a:gd name="T8" fmla="*/ 2147483647 w 33"/>
                <a:gd name="T9" fmla="*/ 2147483647 h 13"/>
                <a:gd name="T10" fmla="*/ 2147483647 w 33"/>
                <a:gd name="T11" fmla="*/ 2147483647 h 13"/>
                <a:gd name="T12" fmla="*/ 2147483647 w 33"/>
                <a:gd name="T13" fmla="*/ 2147483647 h 13"/>
                <a:gd name="T14" fmla="*/ 2147483647 w 33"/>
                <a:gd name="T15" fmla="*/ 2147483647 h 13"/>
                <a:gd name="T16" fmla="*/ 2147483647 w 33"/>
                <a:gd name="T17" fmla="*/ 2147483647 h 13"/>
                <a:gd name="T18" fmla="*/ 2147483647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62" name="Freeform 61"/>
            <p:cNvSpPr>
              <a:spLocks/>
            </p:cNvSpPr>
            <p:nvPr/>
          </p:nvSpPr>
          <p:spPr bwMode="auto">
            <a:xfrm>
              <a:off x="2124075" y="3344863"/>
              <a:ext cx="28575" cy="44450"/>
            </a:xfrm>
            <a:custGeom>
              <a:avLst/>
              <a:gdLst>
                <a:gd name="T0" fmla="*/ 2147483647 w 67"/>
                <a:gd name="T1" fmla="*/ 2147483647 h 86"/>
                <a:gd name="T2" fmla="*/ 0 w 67"/>
                <a:gd name="T3" fmla="*/ 0 h 86"/>
                <a:gd name="T4" fmla="*/ 2147483647 w 67"/>
                <a:gd name="T5" fmla="*/ 0 h 86"/>
                <a:gd name="T6" fmla="*/ 2147483647 w 67"/>
                <a:gd name="T7" fmla="*/ 2147483647 h 86"/>
                <a:gd name="T8" fmla="*/ 2147483647 w 67"/>
                <a:gd name="T9" fmla="*/ 2147483647 h 86"/>
                <a:gd name="T10" fmla="*/ 2147483647 w 67"/>
                <a:gd name="T11" fmla="*/ 2147483647 h 86"/>
                <a:gd name="T12" fmla="*/ 2147483647 w 67"/>
                <a:gd name="T13" fmla="*/ 2147483647 h 86"/>
                <a:gd name="T14" fmla="*/ 2147483647 w 67"/>
                <a:gd name="T15" fmla="*/ 2147483647 h 86"/>
                <a:gd name="T16" fmla="*/ 2147483647 w 67"/>
                <a:gd name="T17" fmla="*/ 2147483647 h 86"/>
                <a:gd name="T18" fmla="*/ 2147483647 w 67"/>
                <a:gd name="T19" fmla="*/ 2147483647 h 86"/>
                <a:gd name="T20" fmla="*/ 2147483647 w 67"/>
                <a:gd name="T21" fmla="*/ 2147483647 h 86"/>
                <a:gd name="T22" fmla="*/ 2147483647 w 67"/>
                <a:gd name="T23" fmla="*/ 2147483647 h 86"/>
                <a:gd name="T24" fmla="*/ 2147483647 w 67"/>
                <a:gd name="T25" fmla="*/ 2147483647 h 86"/>
                <a:gd name="T26" fmla="*/ 2147483647 w 67"/>
                <a:gd name="T27" fmla="*/ 2147483647 h 86"/>
                <a:gd name="T28" fmla="*/ 2147483647 w 67"/>
                <a:gd name="T29" fmla="*/ 2147483647 h 86"/>
                <a:gd name="T30" fmla="*/ 2147483647 w 67"/>
                <a:gd name="T31" fmla="*/ 2147483647 h 86"/>
                <a:gd name="T32" fmla="*/ 2147483647 w 67"/>
                <a:gd name="T33" fmla="*/ 2147483647 h 86"/>
                <a:gd name="T34" fmla="*/ 2147483647 w 67"/>
                <a:gd name="T35" fmla="*/ 2147483647 h 86"/>
                <a:gd name="T36" fmla="*/ 2147483647 w 67"/>
                <a:gd name="T37" fmla="*/ 2147483647 h 86"/>
                <a:gd name="T38" fmla="*/ 2147483647 w 67"/>
                <a:gd name="T39" fmla="*/ 2147483647 h 86"/>
                <a:gd name="T40" fmla="*/ 2147483647 w 67"/>
                <a:gd name="T41" fmla="*/ 2147483647 h 86"/>
                <a:gd name="T42" fmla="*/ 2147483647 w 67"/>
                <a:gd name="T43" fmla="*/ 2147483647 h 86"/>
                <a:gd name="T44" fmla="*/ 2147483647 w 67"/>
                <a:gd name="T45" fmla="*/ 2147483647 h 86"/>
                <a:gd name="T46" fmla="*/ 2147483647 w 67"/>
                <a:gd name="T47" fmla="*/ 2147483647 h 86"/>
                <a:gd name="T48" fmla="*/ 2147483647 w 67"/>
                <a:gd name="T49" fmla="*/ 2147483647 h 86"/>
                <a:gd name="T50" fmla="*/ 2147483647 w 67"/>
                <a:gd name="T51" fmla="*/ 2147483647 h 86"/>
                <a:gd name="T52" fmla="*/ 2147483647 w 67"/>
                <a:gd name="T53" fmla="*/ 2147483647 h 86"/>
                <a:gd name="T54" fmla="*/ 2147483647 w 67"/>
                <a:gd name="T55" fmla="*/ 2147483647 h 86"/>
                <a:gd name="T56" fmla="*/ 2147483647 w 67"/>
                <a:gd name="T57" fmla="*/ 2147483647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47163" name="Freeform 62"/>
            <p:cNvSpPr>
              <a:spLocks/>
            </p:cNvSpPr>
            <p:nvPr/>
          </p:nvSpPr>
          <p:spPr bwMode="auto">
            <a:xfrm>
              <a:off x="2112963" y="3405188"/>
              <a:ext cx="20637" cy="44450"/>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47164" name="Freeform 63"/>
            <p:cNvSpPr>
              <a:spLocks/>
            </p:cNvSpPr>
            <p:nvPr/>
          </p:nvSpPr>
          <p:spPr bwMode="auto">
            <a:xfrm>
              <a:off x="2146300" y="3408363"/>
              <a:ext cx="3175" cy="6350"/>
            </a:xfrm>
            <a:custGeom>
              <a:avLst/>
              <a:gdLst>
                <a:gd name="T0" fmla="*/ 0 w 6"/>
                <a:gd name="T1" fmla="*/ 2147483647 h 12"/>
                <a:gd name="T2" fmla="*/ 2147483647 w 6"/>
                <a:gd name="T3" fmla="*/ 0 h 12"/>
                <a:gd name="T4" fmla="*/ 2147483647 w 6"/>
                <a:gd name="T5" fmla="*/ 0 h 12"/>
                <a:gd name="T6" fmla="*/ 2147483647 w 6"/>
                <a:gd name="T7" fmla="*/ 2147483647 h 12"/>
                <a:gd name="T8" fmla="*/ 2147483647 w 6"/>
                <a:gd name="T9" fmla="*/ 2147483647 h 12"/>
                <a:gd name="T10" fmla="*/ 0 w 6"/>
                <a:gd name="T11" fmla="*/ 2147483647 h 12"/>
                <a:gd name="T12" fmla="*/ 0 w 6"/>
                <a:gd name="T13" fmla="*/ 2147483647 h 12"/>
                <a:gd name="T14" fmla="*/ 0 w 6"/>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165" name="Freeform 64"/>
            <p:cNvSpPr>
              <a:spLocks/>
            </p:cNvSpPr>
            <p:nvPr/>
          </p:nvSpPr>
          <p:spPr bwMode="auto">
            <a:xfrm>
              <a:off x="2152650" y="3397250"/>
              <a:ext cx="17463" cy="23813"/>
            </a:xfrm>
            <a:custGeom>
              <a:avLst/>
              <a:gdLst>
                <a:gd name="T0" fmla="*/ 0 w 39"/>
                <a:gd name="T1" fmla="*/ 0 h 48"/>
                <a:gd name="T2" fmla="*/ 2147483647 w 39"/>
                <a:gd name="T3" fmla="*/ 2147483647 h 48"/>
                <a:gd name="T4" fmla="*/ 2147483647 w 39"/>
                <a:gd name="T5" fmla="*/ 2147483647 h 48"/>
                <a:gd name="T6" fmla="*/ 2147483647 w 39"/>
                <a:gd name="T7" fmla="*/ 2147483647 h 48"/>
                <a:gd name="T8" fmla="*/ 2147483647 w 39"/>
                <a:gd name="T9" fmla="*/ 2147483647 h 48"/>
                <a:gd name="T10" fmla="*/ 2147483647 w 39"/>
                <a:gd name="T11" fmla="*/ 2147483647 h 48"/>
                <a:gd name="T12" fmla="*/ 2147483647 w 39"/>
                <a:gd name="T13" fmla="*/ 2147483647 h 48"/>
                <a:gd name="T14" fmla="*/ 2147483647 w 39"/>
                <a:gd name="T15" fmla="*/ 2147483647 h 48"/>
                <a:gd name="T16" fmla="*/ 2147483647 w 39"/>
                <a:gd name="T17" fmla="*/ 2147483647 h 48"/>
                <a:gd name="T18" fmla="*/ 2147483647 w 39"/>
                <a:gd name="T19" fmla="*/ 2147483647 h 48"/>
                <a:gd name="T20" fmla="*/ 2147483647 w 39"/>
                <a:gd name="T21" fmla="*/ 2147483647 h 48"/>
                <a:gd name="T22" fmla="*/ 0 w 39"/>
                <a:gd name="T23" fmla="*/ 2147483647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66" name="Freeform 65"/>
            <p:cNvSpPr>
              <a:spLocks/>
            </p:cNvSpPr>
            <p:nvPr/>
          </p:nvSpPr>
          <p:spPr bwMode="auto">
            <a:xfrm>
              <a:off x="2174875" y="3417888"/>
              <a:ext cx="7938" cy="22225"/>
            </a:xfrm>
            <a:custGeom>
              <a:avLst/>
              <a:gdLst>
                <a:gd name="T0" fmla="*/ 2147483647 w 16"/>
                <a:gd name="T1" fmla="*/ 0 h 43"/>
                <a:gd name="T2" fmla="*/ 2147483647 w 16"/>
                <a:gd name="T3" fmla="*/ 2147483647 h 43"/>
                <a:gd name="T4" fmla="*/ 2147483647 w 16"/>
                <a:gd name="T5" fmla="*/ 2147483647 h 43"/>
                <a:gd name="T6" fmla="*/ 2147483647 w 16"/>
                <a:gd name="T7" fmla="*/ 2147483647 h 43"/>
                <a:gd name="T8" fmla="*/ 2147483647 w 16"/>
                <a:gd name="T9" fmla="*/ 2147483647 h 43"/>
                <a:gd name="T10" fmla="*/ 2147483647 w 16"/>
                <a:gd name="T11" fmla="*/ 2147483647 h 43"/>
                <a:gd name="T12" fmla="*/ 2147483647 w 16"/>
                <a:gd name="T13" fmla="*/ 2147483647 h 43"/>
                <a:gd name="T14" fmla="*/ 2147483647 w 16"/>
                <a:gd name="T15" fmla="*/ 2147483647 h 43"/>
                <a:gd name="T16" fmla="*/ 0 w 16"/>
                <a:gd name="T17" fmla="*/ 2147483647 h 43"/>
                <a:gd name="T18" fmla="*/ 2147483647 w 16"/>
                <a:gd name="T19" fmla="*/ 2147483647 h 43"/>
                <a:gd name="T20" fmla="*/ 2147483647 w 16"/>
                <a:gd name="T21" fmla="*/ 2147483647 h 43"/>
                <a:gd name="T22" fmla="*/ 2147483647 w 16"/>
                <a:gd name="T23" fmla="*/ 2147483647 h 43"/>
                <a:gd name="T24" fmla="*/ 2147483647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47167" name="Freeform 66"/>
            <p:cNvSpPr>
              <a:spLocks/>
            </p:cNvSpPr>
            <p:nvPr/>
          </p:nvSpPr>
          <p:spPr bwMode="auto">
            <a:xfrm>
              <a:off x="2176463" y="3454400"/>
              <a:ext cx="11112" cy="19050"/>
            </a:xfrm>
            <a:custGeom>
              <a:avLst/>
              <a:gdLst>
                <a:gd name="T0" fmla="*/ 2147483647 w 24"/>
                <a:gd name="T1" fmla="*/ 2147483647 h 37"/>
                <a:gd name="T2" fmla="*/ 2147483647 w 24"/>
                <a:gd name="T3" fmla="*/ 2147483647 h 37"/>
                <a:gd name="T4" fmla="*/ 2147483647 w 24"/>
                <a:gd name="T5" fmla="*/ 2147483647 h 37"/>
                <a:gd name="T6" fmla="*/ 2147483647 w 24"/>
                <a:gd name="T7" fmla="*/ 2147483647 h 37"/>
                <a:gd name="T8" fmla="*/ 2147483647 w 24"/>
                <a:gd name="T9" fmla="*/ 0 h 37"/>
                <a:gd name="T10" fmla="*/ 2147483647 w 24"/>
                <a:gd name="T11" fmla="*/ 2147483647 h 37"/>
                <a:gd name="T12" fmla="*/ 2147483647 w 24"/>
                <a:gd name="T13" fmla="*/ 2147483647 h 37"/>
                <a:gd name="T14" fmla="*/ 2147483647 w 24"/>
                <a:gd name="T15" fmla="*/ 2147483647 h 37"/>
                <a:gd name="T16" fmla="*/ 0 w 24"/>
                <a:gd name="T17" fmla="*/ 2147483647 h 37"/>
                <a:gd name="T18" fmla="*/ 2147483647 w 24"/>
                <a:gd name="T19" fmla="*/ 2147483647 h 37"/>
                <a:gd name="T20" fmla="*/ 2147483647 w 24"/>
                <a:gd name="T21" fmla="*/ 2147483647 h 37"/>
                <a:gd name="T22" fmla="*/ 2147483647 w 24"/>
                <a:gd name="T23" fmla="*/ 2147483647 h 37"/>
                <a:gd name="T24" fmla="*/ 2147483647 w 24"/>
                <a:gd name="T25" fmla="*/ 2147483647 h 37"/>
                <a:gd name="T26" fmla="*/ 2147483647 w 24"/>
                <a:gd name="T27" fmla="*/ 2147483647 h 37"/>
                <a:gd name="T28" fmla="*/ 2147483647 w 24"/>
                <a:gd name="T29" fmla="*/ 2147483647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47168" name="Freeform 67"/>
            <p:cNvSpPr>
              <a:spLocks/>
            </p:cNvSpPr>
            <p:nvPr/>
          </p:nvSpPr>
          <p:spPr bwMode="auto">
            <a:xfrm>
              <a:off x="2198688" y="3476625"/>
              <a:ext cx="15875" cy="26988"/>
            </a:xfrm>
            <a:custGeom>
              <a:avLst/>
              <a:gdLst>
                <a:gd name="T0" fmla="*/ 2147483647 w 34"/>
                <a:gd name="T1" fmla="*/ 0 h 55"/>
                <a:gd name="T2" fmla="*/ 2147483647 w 34"/>
                <a:gd name="T3" fmla="*/ 2147483647 h 55"/>
                <a:gd name="T4" fmla="*/ 2147483647 w 34"/>
                <a:gd name="T5" fmla="*/ 2147483647 h 55"/>
                <a:gd name="T6" fmla="*/ 2147483647 w 34"/>
                <a:gd name="T7" fmla="*/ 2147483647 h 55"/>
                <a:gd name="T8" fmla="*/ 2147483647 w 34"/>
                <a:gd name="T9" fmla="*/ 2147483647 h 55"/>
                <a:gd name="T10" fmla="*/ 2147483647 w 34"/>
                <a:gd name="T11" fmla="*/ 2147483647 h 55"/>
                <a:gd name="T12" fmla="*/ 2147483647 w 34"/>
                <a:gd name="T13" fmla="*/ 2147483647 h 55"/>
                <a:gd name="T14" fmla="*/ 2147483647 w 34"/>
                <a:gd name="T15" fmla="*/ 2147483647 h 55"/>
                <a:gd name="T16" fmla="*/ 2147483647 w 34"/>
                <a:gd name="T17" fmla="*/ 2147483647 h 55"/>
                <a:gd name="T18" fmla="*/ 2147483647 w 34"/>
                <a:gd name="T19" fmla="*/ 2147483647 h 55"/>
                <a:gd name="T20" fmla="*/ 0 w 34"/>
                <a:gd name="T21" fmla="*/ 2147483647 h 55"/>
                <a:gd name="T22" fmla="*/ 2147483647 w 34"/>
                <a:gd name="T23" fmla="*/ 2147483647 h 55"/>
                <a:gd name="T24" fmla="*/ 2147483647 w 34"/>
                <a:gd name="T25" fmla="*/ 2147483647 h 55"/>
                <a:gd name="T26" fmla="*/ 2147483647 w 34"/>
                <a:gd name="T27" fmla="*/ 2147483647 h 55"/>
                <a:gd name="T28" fmla="*/ 2147483647 w 34"/>
                <a:gd name="T29" fmla="*/ 2147483647 h 55"/>
                <a:gd name="T30" fmla="*/ 2147483647 w 34"/>
                <a:gd name="T31" fmla="*/ 2147483647 h 55"/>
                <a:gd name="T32" fmla="*/ 2147483647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47169" name="Freeform 68"/>
            <p:cNvSpPr>
              <a:spLocks/>
            </p:cNvSpPr>
            <p:nvPr/>
          </p:nvSpPr>
          <p:spPr bwMode="auto">
            <a:xfrm>
              <a:off x="2227263" y="3494088"/>
              <a:ext cx="14287" cy="6350"/>
            </a:xfrm>
            <a:custGeom>
              <a:avLst/>
              <a:gdLst>
                <a:gd name="T0" fmla="*/ 0 w 33"/>
                <a:gd name="T1" fmla="*/ 0 h 12"/>
                <a:gd name="T2" fmla="*/ 2147483647 w 33"/>
                <a:gd name="T3" fmla="*/ 2147483647 h 12"/>
                <a:gd name="T4" fmla="*/ 2147483647 w 33"/>
                <a:gd name="T5" fmla="*/ 2147483647 h 12"/>
                <a:gd name="T6" fmla="*/ 2147483647 w 33"/>
                <a:gd name="T7" fmla="*/ 2147483647 h 12"/>
                <a:gd name="T8" fmla="*/ 2147483647 w 33"/>
                <a:gd name="T9" fmla="*/ 2147483647 h 12"/>
                <a:gd name="T10" fmla="*/ 2147483647 w 33"/>
                <a:gd name="T11" fmla="*/ 2147483647 h 12"/>
                <a:gd name="T12" fmla="*/ 2147483647 w 33"/>
                <a:gd name="T13" fmla="*/ 2147483647 h 12"/>
                <a:gd name="T14" fmla="*/ 2147483647 w 33"/>
                <a:gd name="T15" fmla="*/ 2147483647 h 12"/>
                <a:gd name="T16" fmla="*/ 2147483647 w 33"/>
                <a:gd name="T17" fmla="*/ 2147483647 h 12"/>
                <a:gd name="T18" fmla="*/ 2147483647 w 33"/>
                <a:gd name="T19" fmla="*/ 2147483647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70" name="Freeform 69"/>
            <p:cNvSpPr>
              <a:spLocks/>
            </p:cNvSpPr>
            <p:nvPr>
              <p:custDataLst>
                <p:tags r:id="rId49"/>
              </p:custDataLst>
            </p:nvPr>
          </p:nvSpPr>
          <p:spPr bwMode="auto">
            <a:xfrm>
              <a:off x="7923213" y="477202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47171" name="Freeform 70"/>
            <p:cNvSpPr>
              <a:spLocks/>
            </p:cNvSpPr>
            <p:nvPr>
              <p:custDataLst>
                <p:tags r:id="rId50"/>
              </p:custDataLst>
            </p:nvPr>
          </p:nvSpPr>
          <p:spPr bwMode="auto">
            <a:xfrm>
              <a:off x="7932738" y="486251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47172" name="Freeform 71"/>
            <p:cNvSpPr>
              <a:spLocks/>
            </p:cNvSpPr>
            <p:nvPr>
              <p:custDataLst>
                <p:tags r:id="rId51"/>
              </p:custDataLst>
            </p:nvPr>
          </p:nvSpPr>
          <p:spPr bwMode="auto">
            <a:xfrm>
              <a:off x="8047038" y="4772025"/>
              <a:ext cx="77787"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47173" name="Freeform 72"/>
            <p:cNvSpPr>
              <a:spLocks/>
            </p:cNvSpPr>
            <p:nvPr>
              <p:custDataLst>
                <p:tags r:id="rId52"/>
              </p:custDataLst>
            </p:nvPr>
          </p:nvSpPr>
          <p:spPr bwMode="auto">
            <a:xfrm>
              <a:off x="8047038" y="4745038"/>
              <a:ext cx="14287"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74" name="Freeform 74"/>
            <p:cNvSpPr>
              <a:spLocks/>
            </p:cNvSpPr>
            <p:nvPr/>
          </p:nvSpPr>
          <p:spPr bwMode="auto">
            <a:xfrm>
              <a:off x="7737475" y="5653088"/>
              <a:ext cx="22225" cy="17462"/>
            </a:xfrm>
            <a:custGeom>
              <a:avLst/>
              <a:gdLst>
                <a:gd name="T0" fmla="*/ 0 w 53"/>
                <a:gd name="T1" fmla="*/ 2147483647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0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0 w 53"/>
                <a:gd name="T31" fmla="*/ 2147483647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75" name="Freeform 75"/>
            <p:cNvSpPr>
              <a:spLocks/>
            </p:cNvSpPr>
            <p:nvPr/>
          </p:nvSpPr>
          <p:spPr bwMode="auto">
            <a:xfrm>
              <a:off x="7747000" y="5462588"/>
              <a:ext cx="271463" cy="187325"/>
            </a:xfrm>
            <a:custGeom>
              <a:avLst/>
              <a:gdLst>
                <a:gd name="T0" fmla="*/ 2147483647 w 631"/>
                <a:gd name="T1" fmla="*/ 2147483647 h 358"/>
                <a:gd name="T2" fmla="*/ 2147483647 w 631"/>
                <a:gd name="T3" fmla="*/ 2147483647 h 358"/>
                <a:gd name="T4" fmla="*/ 2147483647 w 631"/>
                <a:gd name="T5" fmla="*/ 2147483647 h 358"/>
                <a:gd name="T6" fmla="*/ 2147483647 w 631"/>
                <a:gd name="T7" fmla="*/ 2147483647 h 358"/>
                <a:gd name="T8" fmla="*/ 2147483647 w 631"/>
                <a:gd name="T9" fmla="*/ 2147483647 h 358"/>
                <a:gd name="T10" fmla="*/ 2147483647 w 631"/>
                <a:gd name="T11" fmla="*/ 2147483647 h 358"/>
                <a:gd name="T12" fmla="*/ 2147483647 w 631"/>
                <a:gd name="T13" fmla="*/ 2147483647 h 358"/>
                <a:gd name="T14" fmla="*/ 2147483647 w 631"/>
                <a:gd name="T15" fmla="*/ 2147483647 h 358"/>
                <a:gd name="T16" fmla="*/ 2147483647 w 631"/>
                <a:gd name="T17" fmla="*/ 2147483647 h 358"/>
                <a:gd name="T18" fmla="*/ 2147483647 w 631"/>
                <a:gd name="T19" fmla="*/ 2147483647 h 358"/>
                <a:gd name="T20" fmla="*/ 2147483647 w 631"/>
                <a:gd name="T21" fmla="*/ 2147483647 h 358"/>
                <a:gd name="T22" fmla="*/ 2147483647 w 631"/>
                <a:gd name="T23" fmla="*/ 2147483647 h 358"/>
                <a:gd name="T24" fmla="*/ 2147483647 w 631"/>
                <a:gd name="T25" fmla="*/ 2147483647 h 358"/>
                <a:gd name="T26" fmla="*/ 2147483647 w 631"/>
                <a:gd name="T27" fmla="*/ 2147483647 h 358"/>
                <a:gd name="T28" fmla="*/ 2147483647 w 631"/>
                <a:gd name="T29" fmla="*/ 2147483647 h 358"/>
                <a:gd name="T30" fmla="*/ 2147483647 w 631"/>
                <a:gd name="T31" fmla="*/ 2147483647 h 358"/>
                <a:gd name="T32" fmla="*/ 2147483647 w 631"/>
                <a:gd name="T33" fmla="*/ 2147483647 h 358"/>
                <a:gd name="T34" fmla="*/ 2147483647 w 631"/>
                <a:gd name="T35" fmla="*/ 2147483647 h 358"/>
                <a:gd name="T36" fmla="*/ 2147483647 w 631"/>
                <a:gd name="T37" fmla="*/ 2147483647 h 358"/>
                <a:gd name="T38" fmla="*/ 2147483647 w 631"/>
                <a:gd name="T39" fmla="*/ 2147483647 h 358"/>
                <a:gd name="T40" fmla="*/ 2147483647 w 631"/>
                <a:gd name="T41" fmla="*/ 2147483647 h 358"/>
                <a:gd name="T42" fmla="*/ 2147483647 w 631"/>
                <a:gd name="T43" fmla="*/ 0 h 358"/>
                <a:gd name="T44" fmla="*/ 2147483647 w 631"/>
                <a:gd name="T45" fmla="*/ 2147483647 h 358"/>
                <a:gd name="T46" fmla="*/ 2147483647 w 631"/>
                <a:gd name="T47" fmla="*/ 2147483647 h 358"/>
                <a:gd name="T48" fmla="*/ 2147483647 w 631"/>
                <a:gd name="T49" fmla="*/ 2147483647 h 358"/>
                <a:gd name="T50" fmla="*/ 2147483647 w 631"/>
                <a:gd name="T51" fmla="*/ 2147483647 h 358"/>
                <a:gd name="T52" fmla="*/ 2147483647 w 631"/>
                <a:gd name="T53" fmla="*/ 2147483647 h 358"/>
                <a:gd name="T54" fmla="*/ 2147483647 w 631"/>
                <a:gd name="T55" fmla="*/ 2147483647 h 358"/>
                <a:gd name="T56" fmla="*/ 2147483647 w 631"/>
                <a:gd name="T57" fmla="*/ 2147483647 h 358"/>
                <a:gd name="T58" fmla="*/ 2147483647 w 631"/>
                <a:gd name="T59" fmla="*/ 2147483647 h 358"/>
                <a:gd name="T60" fmla="*/ 2147483647 w 631"/>
                <a:gd name="T61" fmla="*/ 2147483647 h 358"/>
                <a:gd name="T62" fmla="*/ 2147483647 w 631"/>
                <a:gd name="T63" fmla="*/ 2147483647 h 358"/>
                <a:gd name="T64" fmla="*/ 2147483647 w 631"/>
                <a:gd name="T65" fmla="*/ 2147483647 h 358"/>
                <a:gd name="T66" fmla="*/ 2147483647 w 631"/>
                <a:gd name="T67" fmla="*/ 2147483647 h 358"/>
                <a:gd name="T68" fmla="*/ 2147483647 w 631"/>
                <a:gd name="T69" fmla="*/ 2147483647 h 358"/>
                <a:gd name="T70" fmla="*/ 2147483647 w 631"/>
                <a:gd name="T71" fmla="*/ 2147483647 h 358"/>
                <a:gd name="T72" fmla="*/ 2147483647 w 631"/>
                <a:gd name="T73" fmla="*/ 2147483647 h 358"/>
                <a:gd name="T74" fmla="*/ 2147483647 w 631"/>
                <a:gd name="T75" fmla="*/ 2147483647 h 358"/>
                <a:gd name="T76" fmla="*/ 2147483647 w 631"/>
                <a:gd name="T77" fmla="*/ 2147483647 h 358"/>
                <a:gd name="T78" fmla="*/ 2147483647 w 631"/>
                <a:gd name="T79" fmla="*/ 2147483647 h 358"/>
                <a:gd name="T80" fmla="*/ 2147483647 w 631"/>
                <a:gd name="T81" fmla="*/ 2147483647 h 358"/>
                <a:gd name="T82" fmla="*/ 2147483647 w 631"/>
                <a:gd name="T83" fmla="*/ 2147483647 h 358"/>
                <a:gd name="T84" fmla="*/ 2147483647 w 631"/>
                <a:gd name="T85" fmla="*/ 2147483647 h 358"/>
                <a:gd name="T86" fmla="*/ 2147483647 w 631"/>
                <a:gd name="T87" fmla="*/ 2147483647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76" name="Freeform 76"/>
            <p:cNvSpPr>
              <a:spLocks/>
            </p:cNvSpPr>
            <p:nvPr/>
          </p:nvSpPr>
          <p:spPr bwMode="auto">
            <a:xfrm>
              <a:off x="8040688" y="5265738"/>
              <a:ext cx="155575" cy="225425"/>
            </a:xfrm>
            <a:custGeom>
              <a:avLst/>
              <a:gdLst>
                <a:gd name="T0" fmla="*/ 2147483647 w 359"/>
                <a:gd name="T1" fmla="*/ 2147483647 h 431"/>
                <a:gd name="T2" fmla="*/ 2147483647 w 359"/>
                <a:gd name="T3" fmla="*/ 2147483647 h 431"/>
                <a:gd name="T4" fmla="*/ 2147483647 w 359"/>
                <a:gd name="T5" fmla="*/ 2147483647 h 431"/>
                <a:gd name="T6" fmla="*/ 2147483647 w 359"/>
                <a:gd name="T7" fmla="*/ 2147483647 h 431"/>
                <a:gd name="T8" fmla="*/ 2147483647 w 359"/>
                <a:gd name="T9" fmla="*/ 2147483647 h 431"/>
                <a:gd name="T10" fmla="*/ 2147483647 w 359"/>
                <a:gd name="T11" fmla="*/ 2147483647 h 431"/>
                <a:gd name="T12" fmla="*/ 2147483647 w 359"/>
                <a:gd name="T13" fmla="*/ 2147483647 h 431"/>
                <a:gd name="T14" fmla="*/ 2147483647 w 359"/>
                <a:gd name="T15" fmla="*/ 2147483647 h 431"/>
                <a:gd name="T16" fmla="*/ 2147483647 w 359"/>
                <a:gd name="T17" fmla="*/ 2147483647 h 431"/>
                <a:gd name="T18" fmla="*/ 2147483647 w 359"/>
                <a:gd name="T19" fmla="*/ 0 h 431"/>
                <a:gd name="T20" fmla="*/ 2147483647 w 359"/>
                <a:gd name="T21" fmla="*/ 2147483647 h 431"/>
                <a:gd name="T22" fmla="*/ 2147483647 w 359"/>
                <a:gd name="T23" fmla="*/ 2147483647 h 431"/>
                <a:gd name="T24" fmla="*/ 2147483647 w 359"/>
                <a:gd name="T25" fmla="*/ 2147483647 h 431"/>
                <a:gd name="T26" fmla="*/ 2147483647 w 359"/>
                <a:gd name="T27" fmla="*/ 2147483647 h 431"/>
                <a:gd name="T28" fmla="*/ 2147483647 w 359"/>
                <a:gd name="T29" fmla="*/ 2147483647 h 431"/>
                <a:gd name="T30" fmla="*/ 2147483647 w 359"/>
                <a:gd name="T31" fmla="*/ 2147483647 h 431"/>
                <a:gd name="T32" fmla="*/ 2147483647 w 359"/>
                <a:gd name="T33" fmla="*/ 2147483647 h 431"/>
                <a:gd name="T34" fmla="*/ 2147483647 w 359"/>
                <a:gd name="T35" fmla="*/ 2147483647 h 431"/>
                <a:gd name="T36" fmla="*/ 2147483647 w 359"/>
                <a:gd name="T37" fmla="*/ 2147483647 h 431"/>
                <a:gd name="T38" fmla="*/ 2147483647 w 359"/>
                <a:gd name="T39" fmla="*/ 2147483647 h 431"/>
                <a:gd name="T40" fmla="*/ 2147483647 w 359"/>
                <a:gd name="T41" fmla="*/ 2147483647 h 431"/>
                <a:gd name="T42" fmla="*/ 2147483647 w 359"/>
                <a:gd name="T43" fmla="*/ 2147483647 h 431"/>
                <a:gd name="T44" fmla="*/ 2147483647 w 359"/>
                <a:gd name="T45" fmla="*/ 2147483647 h 431"/>
                <a:gd name="T46" fmla="*/ 2147483647 w 359"/>
                <a:gd name="T47" fmla="*/ 2147483647 h 431"/>
                <a:gd name="T48" fmla="*/ 2147483647 w 359"/>
                <a:gd name="T49" fmla="*/ 2147483647 h 431"/>
                <a:gd name="T50" fmla="*/ 2147483647 w 359"/>
                <a:gd name="T51" fmla="*/ 2147483647 h 431"/>
                <a:gd name="T52" fmla="*/ 2147483647 w 359"/>
                <a:gd name="T53" fmla="*/ 2147483647 h 431"/>
                <a:gd name="T54" fmla="*/ 2147483647 w 359"/>
                <a:gd name="T55" fmla="*/ 2147483647 h 431"/>
                <a:gd name="T56" fmla="*/ 2147483647 w 359"/>
                <a:gd name="T57" fmla="*/ 2147483647 h 431"/>
                <a:gd name="T58" fmla="*/ 2147483647 w 359"/>
                <a:gd name="T59" fmla="*/ 2147483647 h 431"/>
                <a:gd name="T60" fmla="*/ 2147483647 w 359"/>
                <a:gd name="T61" fmla="*/ 2147483647 h 431"/>
                <a:gd name="T62" fmla="*/ 2147483647 w 359"/>
                <a:gd name="T63" fmla="*/ 2147483647 h 431"/>
                <a:gd name="T64" fmla="*/ 2147483647 w 359"/>
                <a:gd name="T65" fmla="*/ 2147483647 h 431"/>
                <a:gd name="T66" fmla="*/ 2147483647 w 359"/>
                <a:gd name="T67" fmla="*/ 2147483647 h 431"/>
                <a:gd name="T68" fmla="*/ 2147483647 w 359"/>
                <a:gd name="T69" fmla="*/ 2147483647 h 431"/>
                <a:gd name="T70" fmla="*/ 2147483647 w 359"/>
                <a:gd name="T71" fmla="*/ 2147483647 h 431"/>
                <a:gd name="T72" fmla="*/ 2147483647 w 359"/>
                <a:gd name="T73" fmla="*/ 2147483647 h 431"/>
                <a:gd name="T74" fmla="*/ 2147483647 w 359"/>
                <a:gd name="T75" fmla="*/ 2147483647 h 431"/>
                <a:gd name="T76" fmla="*/ 2147483647 w 359"/>
                <a:gd name="T77" fmla="*/ 2147483647 h 431"/>
                <a:gd name="T78" fmla="*/ 2147483647 w 359"/>
                <a:gd name="T79" fmla="*/ 2147483647 h 431"/>
                <a:gd name="T80" fmla="*/ 2147483647 w 359"/>
                <a:gd name="T81" fmla="*/ 2147483647 h 431"/>
                <a:gd name="T82" fmla="*/ 2147483647 w 359"/>
                <a:gd name="T83" fmla="*/ 2147483647 h 431"/>
                <a:gd name="T84" fmla="*/ 2147483647 w 359"/>
                <a:gd name="T85" fmla="*/ 2147483647 h 431"/>
                <a:gd name="T86" fmla="*/ 2147483647 w 359"/>
                <a:gd name="T87" fmla="*/ 2147483647 h 431"/>
                <a:gd name="T88" fmla="*/ 2147483647 w 359"/>
                <a:gd name="T89" fmla="*/ 2147483647 h 431"/>
                <a:gd name="T90" fmla="*/ 2147483647 w 359"/>
                <a:gd name="T91" fmla="*/ 2147483647 h 431"/>
                <a:gd name="T92" fmla="*/ 2147483647 w 359"/>
                <a:gd name="T93" fmla="*/ 2147483647 h 431"/>
                <a:gd name="T94" fmla="*/ 2147483647 w 359"/>
                <a:gd name="T95" fmla="*/ 2147483647 h 431"/>
                <a:gd name="T96" fmla="*/ 2147483647 w 359"/>
                <a:gd name="T97" fmla="*/ 2147483647 h 431"/>
                <a:gd name="T98" fmla="*/ 2147483647 w 359"/>
                <a:gd name="T99" fmla="*/ 2147483647 h 431"/>
                <a:gd name="T100" fmla="*/ 2147483647 w 359"/>
                <a:gd name="T101" fmla="*/ 2147483647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177" name="Freeform 77"/>
            <p:cNvSpPr>
              <a:spLocks/>
            </p:cNvSpPr>
            <p:nvPr>
              <p:custDataLst>
                <p:tags r:id="rId53"/>
              </p:custDataLst>
            </p:nvPr>
          </p:nvSpPr>
          <p:spPr bwMode="auto">
            <a:xfrm>
              <a:off x="7380288" y="392271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47178" name="Freeform 78"/>
            <p:cNvSpPr>
              <a:spLocks/>
            </p:cNvSpPr>
            <p:nvPr>
              <p:custDataLst>
                <p:tags r:id="rId54"/>
              </p:custDataLst>
            </p:nvPr>
          </p:nvSpPr>
          <p:spPr bwMode="auto">
            <a:xfrm>
              <a:off x="8107363" y="4824413"/>
              <a:ext cx="14287"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79" name="Freeform 79"/>
            <p:cNvSpPr>
              <a:spLocks/>
            </p:cNvSpPr>
            <p:nvPr>
              <p:custDataLst>
                <p:tags r:id="rId55"/>
              </p:custDataLst>
            </p:nvPr>
          </p:nvSpPr>
          <p:spPr bwMode="auto">
            <a:xfrm>
              <a:off x="8129588" y="4833938"/>
              <a:ext cx="17462"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47180" name="Freeform 80"/>
            <p:cNvSpPr>
              <a:spLocks/>
            </p:cNvSpPr>
            <p:nvPr>
              <p:custDataLst>
                <p:tags r:id="rId56"/>
              </p:custDataLst>
            </p:nvPr>
          </p:nvSpPr>
          <p:spPr bwMode="auto">
            <a:xfrm>
              <a:off x="7443788" y="3911600"/>
              <a:ext cx="1587" cy="55563"/>
            </a:xfrm>
            <a:custGeom>
              <a:avLst/>
              <a:gdLst>
                <a:gd name="T0" fmla="*/ 0 w 7"/>
                <a:gd name="T1" fmla="*/ 0 h 55562"/>
                <a:gd name="T2" fmla="*/ 2147483647 w 7"/>
                <a:gd name="T3" fmla="*/ 0 h 55562"/>
                <a:gd name="T4" fmla="*/ 0 w 7"/>
                <a:gd name="T5" fmla="*/ 0 h 55562"/>
                <a:gd name="T6" fmla="*/ 0 60000 65536"/>
                <a:gd name="T7" fmla="*/ 0 60000 65536"/>
                <a:gd name="T8" fmla="*/ 0 60000 65536"/>
              </a:gdLst>
              <a:ahLst/>
              <a:cxnLst>
                <a:cxn ang="T6">
                  <a:pos x="T0" y="T1"/>
                </a:cxn>
                <a:cxn ang="T7">
                  <a:pos x="T2" y="T3"/>
                </a:cxn>
                <a:cxn ang="T8">
                  <a:pos x="T4" y="T5"/>
                </a:cxn>
              </a:cxnLst>
              <a:rect l="0" t="0" r="r" b="b"/>
              <a:pathLst>
                <a:path w="7" h="55562">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81" name="Freeform 81"/>
            <p:cNvSpPr>
              <a:spLocks/>
            </p:cNvSpPr>
            <p:nvPr>
              <p:custDataLst>
                <p:tags r:id="rId57"/>
              </p:custDataLst>
            </p:nvPr>
          </p:nvSpPr>
          <p:spPr bwMode="auto">
            <a:xfrm>
              <a:off x="7502525" y="385603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47182" name="Freeform 82"/>
            <p:cNvSpPr>
              <a:spLocks/>
            </p:cNvSpPr>
            <p:nvPr>
              <p:custDataLst>
                <p:tags r:id="rId58"/>
              </p:custDataLst>
            </p:nvPr>
          </p:nvSpPr>
          <p:spPr bwMode="auto">
            <a:xfrm>
              <a:off x="7615238" y="3744913"/>
              <a:ext cx="4762"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83" name="Freeform 83"/>
            <p:cNvSpPr>
              <a:spLocks/>
            </p:cNvSpPr>
            <p:nvPr>
              <p:custDataLst>
                <p:tags r:id="rId59"/>
              </p:custDataLst>
            </p:nvPr>
          </p:nvSpPr>
          <p:spPr bwMode="auto">
            <a:xfrm>
              <a:off x="7767638" y="4443413"/>
              <a:ext cx="26987"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84" name="Freeform 84"/>
            <p:cNvSpPr>
              <a:spLocks/>
            </p:cNvSpPr>
            <p:nvPr>
              <p:custDataLst>
                <p:tags r:id="rId60"/>
              </p:custDataLst>
            </p:nvPr>
          </p:nvSpPr>
          <p:spPr bwMode="auto">
            <a:xfrm>
              <a:off x="7831138" y="445770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85" name="Freeform 85"/>
            <p:cNvSpPr>
              <a:spLocks/>
            </p:cNvSpPr>
            <p:nvPr>
              <p:custDataLst>
                <p:tags r:id="rId61"/>
              </p:custDataLst>
            </p:nvPr>
          </p:nvSpPr>
          <p:spPr bwMode="auto">
            <a:xfrm>
              <a:off x="7688263" y="423386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47186" name="Freeform 86"/>
            <p:cNvSpPr>
              <a:spLocks/>
            </p:cNvSpPr>
            <p:nvPr>
              <p:custDataLst>
                <p:tags r:id="rId62"/>
              </p:custDataLst>
            </p:nvPr>
          </p:nvSpPr>
          <p:spPr bwMode="auto">
            <a:xfrm>
              <a:off x="7631113" y="4208463"/>
              <a:ext cx="11112"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187" name="Freeform 87"/>
            <p:cNvSpPr>
              <a:spLocks/>
            </p:cNvSpPr>
            <p:nvPr>
              <p:custDataLst>
                <p:tags r:id="rId63"/>
              </p:custDataLst>
            </p:nvPr>
          </p:nvSpPr>
          <p:spPr bwMode="auto">
            <a:xfrm>
              <a:off x="7831138" y="454025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47188" name="Freeform 88"/>
            <p:cNvSpPr>
              <a:spLocks/>
            </p:cNvSpPr>
            <p:nvPr>
              <p:custDataLst>
                <p:tags r:id="rId64"/>
              </p:custDataLst>
            </p:nvPr>
          </p:nvSpPr>
          <p:spPr bwMode="auto">
            <a:xfrm>
              <a:off x="7786688" y="452913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47189" name="Line 89"/>
            <p:cNvSpPr>
              <a:spLocks noChangeShapeType="1"/>
            </p:cNvSpPr>
            <p:nvPr>
              <p:custDataLst>
                <p:tags r:id="rId65"/>
              </p:custDataLst>
            </p:nvPr>
          </p:nvSpPr>
          <p:spPr bwMode="auto">
            <a:xfrm>
              <a:off x="7820025" y="4514850"/>
              <a:ext cx="20638"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90" name="Freeform 90"/>
            <p:cNvSpPr>
              <a:spLocks/>
            </p:cNvSpPr>
            <p:nvPr>
              <p:custDataLst>
                <p:tags r:id="rId66"/>
              </p:custDataLst>
            </p:nvPr>
          </p:nvSpPr>
          <p:spPr bwMode="auto">
            <a:xfrm>
              <a:off x="7840663" y="4521200"/>
              <a:ext cx="1587"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47191" name="Freeform 91"/>
            <p:cNvSpPr>
              <a:spLocks/>
            </p:cNvSpPr>
            <p:nvPr>
              <p:custDataLst>
                <p:tags r:id="rId67"/>
              </p:custDataLst>
            </p:nvPr>
          </p:nvSpPr>
          <p:spPr bwMode="auto">
            <a:xfrm>
              <a:off x="7794625" y="4514850"/>
              <a:ext cx="14288" cy="58738"/>
            </a:xfrm>
            <a:custGeom>
              <a:avLst/>
              <a:gdLst>
                <a:gd name="T0" fmla="*/ 0 w 26"/>
                <a:gd name="T1" fmla="*/ 0 h 58737"/>
                <a:gd name="T2" fmla="*/ 2147483647 w 26"/>
                <a:gd name="T3" fmla="*/ 0 h 58737"/>
                <a:gd name="T4" fmla="*/ 2147483647 w 26"/>
                <a:gd name="T5" fmla="*/ 0 h 58737"/>
                <a:gd name="T6" fmla="*/ 0 60000 65536"/>
                <a:gd name="T7" fmla="*/ 0 60000 65536"/>
                <a:gd name="T8" fmla="*/ 0 60000 65536"/>
              </a:gdLst>
              <a:ahLst/>
              <a:cxnLst>
                <a:cxn ang="T6">
                  <a:pos x="T0" y="T1"/>
                </a:cxn>
                <a:cxn ang="T7">
                  <a:pos x="T2" y="T3"/>
                </a:cxn>
                <a:cxn ang="T8">
                  <a:pos x="T4" y="T5"/>
                </a:cxn>
              </a:cxnLst>
              <a:rect l="0" t="0" r="r" b="b"/>
              <a:pathLst>
                <a:path w="26" h="58737">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47192" name="Freeform 92"/>
            <p:cNvSpPr>
              <a:spLocks/>
            </p:cNvSpPr>
            <p:nvPr>
              <p:custDataLst>
                <p:tags r:id="rId68"/>
              </p:custDataLst>
            </p:nvPr>
          </p:nvSpPr>
          <p:spPr bwMode="auto">
            <a:xfrm>
              <a:off x="7788275" y="449580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193" name="Freeform 93"/>
            <p:cNvSpPr>
              <a:spLocks/>
            </p:cNvSpPr>
            <p:nvPr>
              <p:custDataLst>
                <p:tags r:id="rId69"/>
              </p:custDataLst>
            </p:nvPr>
          </p:nvSpPr>
          <p:spPr bwMode="auto">
            <a:xfrm>
              <a:off x="7869238" y="4222750"/>
              <a:ext cx="1587"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47194" name="Freeform 95"/>
            <p:cNvSpPr>
              <a:spLocks/>
            </p:cNvSpPr>
            <p:nvPr/>
          </p:nvSpPr>
          <p:spPr bwMode="auto">
            <a:xfrm>
              <a:off x="7808913" y="3935413"/>
              <a:ext cx="7937" cy="14287"/>
            </a:xfrm>
            <a:custGeom>
              <a:avLst/>
              <a:gdLst>
                <a:gd name="T0" fmla="*/ 2147483647 w 19"/>
                <a:gd name="T1" fmla="*/ 2147483647 h 25"/>
                <a:gd name="T2" fmla="*/ 2147483647 w 19"/>
                <a:gd name="T3" fmla="*/ 2147483647 h 25"/>
                <a:gd name="T4" fmla="*/ 2147483647 w 19"/>
                <a:gd name="T5" fmla="*/ 2147483647 h 25"/>
                <a:gd name="T6" fmla="*/ 2147483647 w 19"/>
                <a:gd name="T7" fmla="*/ 2147483647 h 25"/>
                <a:gd name="T8" fmla="*/ 2147483647 w 19"/>
                <a:gd name="T9" fmla="*/ 2147483647 h 25"/>
                <a:gd name="T10" fmla="*/ 2147483647 w 19"/>
                <a:gd name="T11" fmla="*/ 2147483647 h 25"/>
                <a:gd name="T12" fmla="*/ 2147483647 w 19"/>
                <a:gd name="T13" fmla="*/ 0 h 25"/>
                <a:gd name="T14" fmla="*/ 0 w 19"/>
                <a:gd name="T15" fmla="*/ 0 h 25"/>
                <a:gd name="T16" fmla="*/ 2147483647 w 19"/>
                <a:gd name="T17" fmla="*/ 2147483647 h 25"/>
                <a:gd name="T18" fmla="*/ 2147483647 w 19"/>
                <a:gd name="T19" fmla="*/ 2147483647 h 25"/>
                <a:gd name="T20" fmla="*/ 2147483647 w 19"/>
                <a:gd name="T21" fmla="*/ 2147483647 h 25"/>
                <a:gd name="T22" fmla="*/ 2147483647 w 19"/>
                <a:gd name="T23" fmla="*/ 2147483647 h 25"/>
                <a:gd name="T24" fmla="*/ 2147483647 w 19"/>
                <a:gd name="T25" fmla="*/ 2147483647 h 25"/>
                <a:gd name="T26" fmla="*/ 2147483647 w 19"/>
                <a:gd name="T27" fmla="*/ 2147483647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47195" name="Freeform 96"/>
            <p:cNvSpPr>
              <a:spLocks/>
            </p:cNvSpPr>
            <p:nvPr/>
          </p:nvSpPr>
          <p:spPr bwMode="auto">
            <a:xfrm>
              <a:off x="7743825" y="3957638"/>
              <a:ext cx="9525" cy="9525"/>
            </a:xfrm>
            <a:custGeom>
              <a:avLst/>
              <a:gdLst>
                <a:gd name="T0" fmla="*/ 2147483647 w 26"/>
                <a:gd name="T1" fmla="*/ 2147483647 h 18"/>
                <a:gd name="T2" fmla="*/ 2147483647 w 26"/>
                <a:gd name="T3" fmla="*/ 2147483647 h 18"/>
                <a:gd name="T4" fmla="*/ 2147483647 w 26"/>
                <a:gd name="T5" fmla="*/ 2147483647 h 18"/>
                <a:gd name="T6" fmla="*/ 0 w 26"/>
                <a:gd name="T7" fmla="*/ 0 h 18"/>
                <a:gd name="T8" fmla="*/ 2147483647 w 26"/>
                <a:gd name="T9" fmla="*/ 2147483647 h 18"/>
                <a:gd name="T10" fmla="*/ 2147483647 w 26"/>
                <a:gd name="T11" fmla="*/ 2147483647 h 18"/>
                <a:gd name="T12" fmla="*/ 2147483647 w 26"/>
                <a:gd name="T13" fmla="*/ 2147483647 h 18"/>
                <a:gd name="T14" fmla="*/ 2147483647 w 26"/>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47196" name="Freeform 97"/>
            <p:cNvSpPr>
              <a:spLocks/>
            </p:cNvSpPr>
            <p:nvPr/>
          </p:nvSpPr>
          <p:spPr bwMode="auto">
            <a:xfrm>
              <a:off x="7761288" y="3894138"/>
              <a:ext cx="6350" cy="9525"/>
            </a:xfrm>
            <a:custGeom>
              <a:avLst/>
              <a:gdLst>
                <a:gd name="T0" fmla="*/ 0 w 13"/>
                <a:gd name="T1" fmla="*/ 2147483647 h 18"/>
                <a:gd name="T2" fmla="*/ 2147483647 w 13"/>
                <a:gd name="T3" fmla="*/ 0 h 18"/>
                <a:gd name="T4" fmla="*/ 0 w 13"/>
                <a:gd name="T5" fmla="*/ 2147483647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197" name="Freeform 98"/>
            <p:cNvSpPr>
              <a:spLocks/>
            </p:cNvSpPr>
            <p:nvPr/>
          </p:nvSpPr>
          <p:spPr bwMode="auto">
            <a:xfrm>
              <a:off x="7807325" y="3897313"/>
              <a:ext cx="9525" cy="12700"/>
            </a:xfrm>
            <a:custGeom>
              <a:avLst/>
              <a:gdLst>
                <a:gd name="T0" fmla="*/ 0 w 26"/>
                <a:gd name="T1" fmla="*/ 2147483647 h 24"/>
                <a:gd name="T2" fmla="*/ 2147483647 w 26"/>
                <a:gd name="T3" fmla="*/ 2147483647 h 24"/>
                <a:gd name="T4" fmla="*/ 2147483647 w 26"/>
                <a:gd name="T5" fmla="*/ 2147483647 h 24"/>
                <a:gd name="T6" fmla="*/ 2147483647 w 26"/>
                <a:gd name="T7" fmla="*/ 2147483647 h 24"/>
                <a:gd name="T8" fmla="*/ 2147483647 w 26"/>
                <a:gd name="T9" fmla="*/ 2147483647 h 24"/>
                <a:gd name="T10" fmla="*/ 2147483647 w 26"/>
                <a:gd name="T11" fmla="*/ 2147483647 h 24"/>
                <a:gd name="T12" fmla="*/ 2147483647 w 26"/>
                <a:gd name="T13" fmla="*/ 2147483647 h 24"/>
                <a:gd name="T14" fmla="*/ 2147483647 w 26"/>
                <a:gd name="T15" fmla="*/ 2147483647 h 24"/>
                <a:gd name="T16" fmla="*/ 2147483647 w 26"/>
                <a:gd name="T17" fmla="*/ 0 h 24"/>
                <a:gd name="T18" fmla="*/ 0 w 26"/>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47198" name="Freeform 99"/>
            <p:cNvSpPr>
              <a:spLocks/>
            </p:cNvSpPr>
            <p:nvPr/>
          </p:nvSpPr>
          <p:spPr bwMode="auto">
            <a:xfrm>
              <a:off x="7893050" y="3932238"/>
              <a:ext cx="14288" cy="3175"/>
            </a:xfrm>
            <a:custGeom>
              <a:avLst/>
              <a:gdLst>
                <a:gd name="T0" fmla="*/ 0 w 34"/>
                <a:gd name="T1" fmla="*/ 2147483647 h 6"/>
                <a:gd name="T2" fmla="*/ 2147483647 w 34"/>
                <a:gd name="T3" fmla="*/ 2147483647 h 6"/>
                <a:gd name="T4" fmla="*/ 2147483647 w 34"/>
                <a:gd name="T5" fmla="*/ 2147483647 h 6"/>
                <a:gd name="T6" fmla="*/ 2147483647 w 34"/>
                <a:gd name="T7" fmla="*/ 2147483647 h 6"/>
                <a:gd name="T8" fmla="*/ 2147483647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47199" name="Line 100"/>
            <p:cNvSpPr>
              <a:spLocks noChangeShapeType="1"/>
            </p:cNvSpPr>
            <p:nvPr/>
          </p:nvSpPr>
          <p:spPr bwMode="auto">
            <a:xfrm flipH="1">
              <a:off x="7899400" y="3932238"/>
              <a:ext cx="7938" cy="158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00" name="Freeform 101"/>
            <p:cNvSpPr>
              <a:spLocks/>
            </p:cNvSpPr>
            <p:nvPr/>
          </p:nvSpPr>
          <p:spPr bwMode="auto">
            <a:xfrm>
              <a:off x="7858125" y="3997325"/>
              <a:ext cx="1588" cy="11113"/>
            </a:xfrm>
            <a:custGeom>
              <a:avLst/>
              <a:gdLst>
                <a:gd name="T0" fmla="*/ 0 w 1340"/>
                <a:gd name="T1" fmla="*/ 2147483647 h 19"/>
                <a:gd name="T2" fmla="*/ 0 w 1340"/>
                <a:gd name="T3" fmla="*/ 2147483647 h 19"/>
                <a:gd name="T4" fmla="*/ 0 w 1340"/>
                <a:gd name="T5" fmla="*/ 0 h 19"/>
                <a:gd name="T6" fmla="*/ 0 60000 65536"/>
                <a:gd name="T7" fmla="*/ 0 60000 65536"/>
                <a:gd name="T8" fmla="*/ 0 60000 65536"/>
              </a:gdLst>
              <a:ahLst/>
              <a:cxnLst>
                <a:cxn ang="T6">
                  <a:pos x="T0" y="T1"/>
                </a:cxn>
                <a:cxn ang="T7">
                  <a:pos x="T2" y="T3"/>
                </a:cxn>
                <a:cxn ang="T8">
                  <a:pos x="T4" y="T5"/>
                </a:cxn>
              </a:cxnLst>
              <a:rect l="0" t="0" r="r" b="b"/>
              <a:pathLst>
                <a:path w="1340"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01" name="Line 102"/>
            <p:cNvSpPr>
              <a:spLocks noChangeShapeType="1"/>
            </p:cNvSpPr>
            <p:nvPr/>
          </p:nvSpPr>
          <p:spPr bwMode="auto">
            <a:xfrm>
              <a:off x="7858125" y="3997325"/>
              <a:ext cx="7938"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02" name="Freeform 103"/>
            <p:cNvSpPr>
              <a:spLocks/>
            </p:cNvSpPr>
            <p:nvPr/>
          </p:nvSpPr>
          <p:spPr bwMode="auto">
            <a:xfrm>
              <a:off x="7859713" y="3997325"/>
              <a:ext cx="6350" cy="3175"/>
            </a:xfrm>
            <a:custGeom>
              <a:avLst/>
              <a:gdLst>
                <a:gd name="T0" fmla="*/ 2147483647 w 14"/>
                <a:gd name="T1" fmla="*/ 0 h 6"/>
                <a:gd name="T2" fmla="*/ 2147483647 w 14"/>
                <a:gd name="T3" fmla="*/ 2147483647 h 6"/>
                <a:gd name="T4" fmla="*/ 0 w 14"/>
                <a:gd name="T5" fmla="*/ 2147483647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7203" name="Freeform 104"/>
            <p:cNvSpPr>
              <a:spLocks/>
            </p:cNvSpPr>
            <p:nvPr>
              <p:custDataLst>
                <p:tags r:id="rId70"/>
              </p:custDataLst>
            </p:nvPr>
          </p:nvSpPr>
          <p:spPr bwMode="auto">
            <a:xfrm>
              <a:off x="6327775" y="375602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47204" name="Freeform 105"/>
            <p:cNvSpPr>
              <a:spLocks/>
            </p:cNvSpPr>
            <p:nvPr>
              <p:custDataLst>
                <p:tags r:id="rId71"/>
              </p:custDataLst>
            </p:nvPr>
          </p:nvSpPr>
          <p:spPr bwMode="auto">
            <a:xfrm>
              <a:off x="3227388" y="589597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47205" name="Freeform 106"/>
            <p:cNvSpPr>
              <a:spLocks/>
            </p:cNvSpPr>
            <p:nvPr>
              <p:custDataLst>
                <p:tags r:id="rId72"/>
              </p:custDataLst>
            </p:nvPr>
          </p:nvSpPr>
          <p:spPr bwMode="auto">
            <a:xfrm>
              <a:off x="5529263" y="5734050"/>
              <a:ext cx="30162"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06" name="Freeform 107"/>
            <p:cNvSpPr>
              <a:spLocks/>
            </p:cNvSpPr>
            <p:nvPr>
              <p:custDataLst>
                <p:tags r:id="rId73"/>
              </p:custDataLst>
            </p:nvPr>
          </p:nvSpPr>
          <p:spPr bwMode="auto">
            <a:xfrm>
              <a:off x="7683500" y="2505075"/>
              <a:ext cx="20638"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47207" name="Freeform 108"/>
            <p:cNvSpPr>
              <a:spLocks/>
            </p:cNvSpPr>
            <p:nvPr>
              <p:custDataLst>
                <p:tags r:id="rId74"/>
              </p:custDataLst>
            </p:nvPr>
          </p:nvSpPr>
          <p:spPr bwMode="auto">
            <a:xfrm>
              <a:off x="7859713" y="253841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47208" name="Freeform 109"/>
            <p:cNvSpPr>
              <a:spLocks/>
            </p:cNvSpPr>
            <p:nvPr>
              <p:custDataLst>
                <p:tags r:id="rId75"/>
              </p:custDataLst>
            </p:nvPr>
          </p:nvSpPr>
          <p:spPr bwMode="auto">
            <a:xfrm>
              <a:off x="7308850" y="2768600"/>
              <a:ext cx="4763"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47209" name="Freeform 110"/>
            <p:cNvSpPr>
              <a:spLocks/>
            </p:cNvSpPr>
            <p:nvPr>
              <p:custDataLst>
                <p:tags r:id="rId76"/>
              </p:custDataLst>
            </p:nvPr>
          </p:nvSpPr>
          <p:spPr bwMode="auto">
            <a:xfrm>
              <a:off x="7123113" y="3330575"/>
              <a:ext cx="14287"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210" name="Freeform 111"/>
            <p:cNvSpPr>
              <a:spLocks/>
            </p:cNvSpPr>
            <p:nvPr>
              <p:custDataLst>
                <p:tags r:id="rId77"/>
              </p:custDataLst>
            </p:nvPr>
          </p:nvSpPr>
          <p:spPr bwMode="auto">
            <a:xfrm>
              <a:off x="7140575" y="326548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47211" name="Freeform 112"/>
            <p:cNvSpPr>
              <a:spLocks/>
            </p:cNvSpPr>
            <p:nvPr>
              <p:custDataLst>
                <p:tags r:id="rId78"/>
              </p:custDataLst>
            </p:nvPr>
          </p:nvSpPr>
          <p:spPr bwMode="auto">
            <a:xfrm>
              <a:off x="7029450" y="3114675"/>
              <a:ext cx="1588"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212" name="Freeform 113"/>
            <p:cNvSpPr>
              <a:spLocks/>
            </p:cNvSpPr>
            <p:nvPr>
              <p:custDataLst>
                <p:tags r:id="rId79"/>
              </p:custDataLst>
            </p:nvPr>
          </p:nvSpPr>
          <p:spPr bwMode="auto">
            <a:xfrm>
              <a:off x="3881438" y="224155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213" name="Freeform 114"/>
            <p:cNvSpPr>
              <a:spLocks/>
            </p:cNvSpPr>
            <p:nvPr>
              <p:custDataLst>
                <p:tags r:id="rId80"/>
              </p:custDataLst>
            </p:nvPr>
          </p:nvSpPr>
          <p:spPr bwMode="auto">
            <a:xfrm>
              <a:off x="3867150" y="200977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47214" name="Freeform 115"/>
            <p:cNvSpPr>
              <a:spLocks/>
            </p:cNvSpPr>
            <p:nvPr>
              <p:custDataLst>
                <p:tags r:id="rId81"/>
              </p:custDataLst>
            </p:nvPr>
          </p:nvSpPr>
          <p:spPr bwMode="auto">
            <a:xfrm>
              <a:off x="5348288" y="378777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47215" name="Freeform 116"/>
            <p:cNvSpPr>
              <a:spLocks/>
            </p:cNvSpPr>
            <p:nvPr>
              <p:custDataLst>
                <p:tags r:id="rId82"/>
              </p:custDataLst>
            </p:nvPr>
          </p:nvSpPr>
          <p:spPr bwMode="auto">
            <a:xfrm>
              <a:off x="5051425" y="364966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47216" name="Freeform 118"/>
            <p:cNvSpPr>
              <a:spLocks/>
            </p:cNvSpPr>
            <p:nvPr/>
          </p:nvSpPr>
          <p:spPr bwMode="auto">
            <a:xfrm>
              <a:off x="5854700" y="4202113"/>
              <a:ext cx="7938" cy="9525"/>
            </a:xfrm>
            <a:custGeom>
              <a:avLst/>
              <a:gdLst>
                <a:gd name="T0" fmla="*/ 0 w 19"/>
                <a:gd name="T1" fmla="*/ 0 h 20"/>
                <a:gd name="T2" fmla="*/ 0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2147483647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17" name="Freeform 119"/>
            <p:cNvSpPr>
              <a:spLocks/>
            </p:cNvSpPr>
            <p:nvPr/>
          </p:nvSpPr>
          <p:spPr bwMode="auto">
            <a:xfrm>
              <a:off x="5854700" y="4179888"/>
              <a:ext cx="7938" cy="6350"/>
            </a:xfrm>
            <a:custGeom>
              <a:avLst/>
              <a:gdLst>
                <a:gd name="T0" fmla="*/ 2147483647 w 19"/>
                <a:gd name="T1" fmla="*/ 2147483647 h 12"/>
                <a:gd name="T2" fmla="*/ 2147483647 w 19"/>
                <a:gd name="T3" fmla="*/ 0 h 12"/>
                <a:gd name="T4" fmla="*/ 0 w 19"/>
                <a:gd name="T5" fmla="*/ 0 h 12"/>
                <a:gd name="T6" fmla="*/ 2147483647 w 19"/>
                <a:gd name="T7" fmla="*/ 2147483647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47218" name="Freeform 120"/>
            <p:cNvSpPr>
              <a:spLocks/>
            </p:cNvSpPr>
            <p:nvPr/>
          </p:nvSpPr>
          <p:spPr bwMode="auto">
            <a:xfrm>
              <a:off x="5854700" y="4168775"/>
              <a:ext cx="7938" cy="1588"/>
            </a:xfrm>
            <a:custGeom>
              <a:avLst/>
              <a:gdLst>
                <a:gd name="T0" fmla="*/ 0 w 19"/>
                <a:gd name="T1" fmla="*/ 0 h 1601"/>
                <a:gd name="T2" fmla="*/ 2147483647 w 19"/>
                <a:gd name="T3" fmla="*/ 0 h 1601"/>
                <a:gd name="T4" fmla="*/ 2147483647 w 19"/>
                <a:gd name="T5" fmla="*/ 0 h 1601"/>
                <a:gd name="T6" fmla="*/ 2147483647 w 19"/>
                <a:gd name="T7" fmla="*/ 0 h 1601"/>
                <a:gd name="T8" fmla="*/ 0 w 19"/>
                <a:gd name="T9" fmla="*/ 0 h 16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60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19" name="Rectangle 121"/>
            <p:cNvSpPr>
              <a:spLocks noChangeArrowheads="1"/>
            </p:cNvSpPr>
            <p:nvPr/>
          </p:nvSpPr>
          <p:spPr bwMode="auto">
            <a:xfrm>
              <a:off x="5854700" y="4160838"/>
              <a:ext cx="11113" cy="3175"/>
            </a:xfrm>
            <a:prstGeom prst="rect">
              <a:avLst/>
            </a:prstGeom>
            <a:solidFill>
              <a:srgbClr val="C0C0C0"/>
            </a:solidFill>
            <a:ln w="9525">
              <a:solidFill>
                <a:srgbClr val="FFFFFF"/>
              </a:solidFill>
              <a:miter lim="800000"/>
              <a:headEnd/>
              <a:tailEnd/>
            </a:ln>
          </p:spPr>
          <p:txBody>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47220" name="Line 122"/>
            <p:cNvSpPr>
              <a:spLocks noChangeShapeType="1"/>
            </p:cNvSpPr>
            <p:nvPr/>
          </p:nvSpPr>
          <p:spPr bwMode="auto">
            <a:xfrm flipV="1">
              <a:off x="5851525" y="4100513"/>
              <a:ext cx="6350"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21" name="Freeform 123"/>
            <p:cNvSpPr>
              <a:spLocks/>
            </p:cNvSpPr>
            <p:nvPr/>
          </p:nvSpPr>
          <p:spPr bwMode="auto">
            <a:xfrm>
              <a:off x="5854700" y="4100513"/>
              <a:ext cx="3175" cy="1587"/>
            </a:xfrm>
            <a:custGeom>
              <a:avLst/>
              <a:gdLst>
                <a:gd name="T0" fmla="*/ 2147483647 w 6"/>
                <a:gd name="T1" fmla="*/ 0 h 3"/>
                <a:gd name="T2" fmla="*/ 2147483647 w 6"/>
                <a:gd name="T3" fmla="*/ 2147483647 h 3"/>
                <a:gd name="T4" fmla="*/ 2147483647 w 6"/>
                <a:gd name="T5" fmla="*/ 2147483647 h 3"/>
                <a:gd name="T6" fmla="*/ 2147483647 w 6"/>
                <a:gd name="T7" fmla="*/ 2147483647 h 3"/>
                <a:gd name="T8" fmla="*/ 0 w 6"/>
                <a:gd name="T9" fmla="*/ 2147483647 h 3"/>
                <a:gd name="T10" fmla="*/ 0 w 6"/>
                <a:gd name="T11" fmla="*/ 2147483647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22" name="Freeform 124"/>
            <p:cNvSpPr>
              <a:spLocks/>
            </p:cNvSpPr>
            <p:nvPr/>
          </p:nvSpPr>
          <p:spPr bwMode="auto">
            <a:xfrm>
              <a:off x="5862638" y="4037013"/>
              <a:ext cx="6350" cy="12700"/>
            </a:xfrm>
            <a:custGeom>
              <a:avLst/>
              <a:gdLst>
                <a:gd name="T0" fmla="*/ 2147483647 w 14"/>
                <a:gd name="T1" fmla="*/ 0 h 24"/>
                <a:gd name="T2" fmla="*/ 2147483647 w 14"/>
                <a:gd name="T3" fmla="*/ 2147483647 h 24"/>
                <a:gd name="T4" fmla="*/ 2147483647 w 14"/>
                <a:gd name="T5" fmla="*/ 2147483647 h 24"/>
                <a:gd name="T6" fmla="*/ 2147483647 w 14"/>
                <a:gd name="T7" fmla="*/ 2147483647 h 24"/>
                <a:gd name="T8" fmla="*/ 0 w 14"/>
                <a:gd name="T9" fmla="*/ 2147483647 h 24"/>
                <a:gd name="T10" fmla="*/ 0 w 14"/>
                <a:gd name="T11" fmla="*/ 2147483647 h 24"/>
                <a:gd name="T12" fmla="*/ 0 w 14"/>
                <a:gd name="T13" fmla="*/ 2147483647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223" name="Line 125"/>
            <p:cNvSpPr>
              <a:spLocks noChangeShapeType="1"/>
            </p:cNvSpPr>
            <p:nvPr/>
          </p:nvSpPr>
          <p:spPr bwMode="auto">
            <a:xfrm>
              <a:off x="5862638" y="4043363"/>
              <a:ext cx="3175" cy="158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24" name="Freeform 126"/>
            <p:cNvSpPr>
              <a:spLocks/>
            </p:cNvSpPr>
            <p:nvPr/>
          </p:nvSpPr>
          <p:spPr bwMode="auto">
            <a:xfrm>
              <a:off x="5857875" y="4064000"/>
              <a:ext cx="4763" cy="4763"/>
            </a:xfrm>
            <a:custGeom>
              <a:avLst/>
              <a:gdLst>
                <a:gd name="T0" fmla="*/ 2147483647 w 13"/>
                <a:gd name="T1" fmla="*/ 2147483647 h 12"/>
                <a:gd name="T2" fmla="*/ 0 w 13"/>
                <a:gd name="T3" fmla="*/ 0 h 12"/>
                <a:gd name="T4" fmla="*/ 2147483647 w 13"/>
                <a:gd name="T5" fmla="*/ 2147483647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47225" name="Freeform 127"/>
            <p:cNvSpPr>
              <a:spLocks/>
            </p:cNvSpPr>
            <p:nvPr/>
          </p:nvSpPr>
          <p:spPr bwMode="auto">
            <a:xfrm>
              <a:off x="5862638" y="4084638"/>
              <a:ext cx="3175" cy="9525"/>
            </a:xfrm>
            <a:custGeom>
              <a:avLst/>
              <a:gdLst>
                <a:gd name="T0" fmla="*/ 0 w 7"/>
                <a:gd name="T1" fmla="*/ 0 h 19"/>
                <a:gd name="T2" fmla="*/ 0 w 7"/>
                <a:gd name="T3" fmla="*/ 2147483647 h 19"/>
                <a:gd name="T4" fmla="*/ 0 w 7"/>
                <a:gd name="T5" fmla="*/ 0 h 19"/>
                <a:gd name="T6" fmla="*/ 2147483647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47226" name="Line 128"/>
            <p:cNvSpPr>
              <a:spLocks noChangeShapeType="1"/>
            </p:cNvSpPr>
            <p:nvPr/>
          </p:nvSpPr>
          <p:spPr bwMode="auto">
            <a:xfrm flipV="1">
              <a:off x="5862638" y="4106863"/>
              <a:ext cx="158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27" name="Freeform 129"/>
            <p:cNvSpPr>
              <a:spLocks/>
            </p:cNvSpPr>
            <p:nvPr/>
          </p:nvSpPr>
          <p:spPr bwMode="auto">
            <a:xfrm>
              <a:off x="5848350" y="4021138"/>
              <a:ext cx="3175" cy="9525"/>
            </a:xfrm>
            <a:custGeom>
              <a:avLst/>
              <a:gdLst>
                <a:gd name="T0" fmla="*/ 0 w 8"/>
                <a:gd name="T1" fmla="*/ 2147483647 h 18"/>
                <a:gd name="T2" fmla="*/ 2147483647 w 8"/>
                <a:gd name="T3" fmla="*/ 2147483647 h 18"/>
                <a:gd name="T4" fmla="*/ 0 w 8"/>
                <a:gd name="T5" fmla="*/ 0 h 18"/>
                <a:gd name="T6" fmla="*/ 0 w 8"/>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228" name="Freeform 130"/>
            <p:cNvSpPr>
              <a:spLocks/>
            </p:cNvSpPr>
            <p:nvPr/>
          </p:nvSpPr>
          <p:spPr bwMode="auto">
            <a:xfrm>
              <a:off x="5845175" y="4000500"/>
              <a:ext cx="3175" cy="11113"/>
            </a:xfrm>
            <a:custGeom>
              <a:avLst/>
              <a:gdLst>
                <a:gd name="T0" fmla="*/ 0 w 6"/>
                <a:gd name="T1" fmla="*/ 0 h 19"/>
                <a:gd name="T2" fmla="*/ 0 w 6"/>
                <a:gd name="T3" fmla="*/ 2147483647 h 19"/>
                <a:gd name="T4" fmla="*/ 2147483647 w 6"/>
                <a:gd name="T5" fmla="*/ 2147483647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47229" name="Freeform 131"/>
            <p:cNvSpPr>
              <a:spLocks/>
            </p:cNvSpPr>
            <p:nvPr/>
          </p:nvSpPr>
          <p:spPr bwMode="auto">
            <a:xfrm>
              <a:off x="5842000" y="3970338"/>
              <a:ext cx="12700" cy="7937"/>
            </a:xfrm>
            <a:custGeom>
              <a:avLst/>
              <a:gdLst>
                <a:gd name="T0" fmla="*/ 0 w 28"/>
                <a:gd name="T1" fmla="*/ 0 h 19"/>
                <a:gd name="T2" fmla="*/ 0 w 28"/>
                <a:gd name="T3" fmla="*/ 2147483647 h 19"/>
                <a:gd name="T4" fmla="*/ 2147483647 w 28"/>
                <a:gd name="T5" fmla="*/ 2147483647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47230" name="Freeform 132"/>
            <p:cNvSpPr>
              <a:spLocks/>
            </p:cNvSpPr>
            <p:nvPr/>
          </p:nvSpPr>
          <p:spPr bwMode="auto">
            <a:xfrm>
              <a:off x="5848350" y="3970338"/>
              <a:ext cx="6350" cy="7937"/>
            </a:xfrm>
            <a:custGeom>
              <a:avLst/>
              <a:gdLst>
                <a:gd name="T0" fmla="*/ 2147483647 w 15"/>
                <a:gd name="T1" fmla="*/ 2147483647 h 19"/>
                <a:gd name="T2" fmla="*/ 2147483647 w 15"/>
                <a:gd name="T3" fmla="*/ 2147483647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31" name="Freeform 133"/>
            <p:cNvSpPr>
              <a:spLocks/>
            </p:cNvSpPr>
            <p:nvPr/>
          </p:nvSpPr>
          <p:spPr bwMode="auto">
            <a:xfrm>
              <a:off x="5854700" y="4202113"/>
              <a:ext cx="7938" cy="9525"/>
            </a:xfrm>
            <a:custGeom>
              <a:avLst/>
              <a:gdLst>
                <a:gd name="T0" fmla="*/ 0 w 19"/>
                <a:gd name="T1" fmla="*/ 0 h 20"/>
                <a:gd name="T2" fmla="*/ 0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2147483647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32" name="Freeform 134"/>
            <p:cNvSpPr>
              <a:spLocks/>
            </p:cNvSpPr>
            <p:nvPr/>
          </p:nvSpPr>
          <p:spPr bwMode="auto">
            <a:xfrm>
              <a:off x="5854700" y="4179888"/>
              <a:ext cx="7938" cy="6350"/>
            </a:xfrm>
            <a:custGeom>
              <a:avLst/>
              <a:gdLst>
                <a:gd name="T0" fmla="*/ 2147483647 w 19"/>
                <a:gd name="T1" fmla="*/ 2147483647 h 12"/>
                <a:gd name="T2" fmla="*/ 2147483647 w 19"/>
                <a:gd name="T3" fmla="*/ 0 h 12"/>
                <a:gd name="T4" fmla="*/ 0 w 19"/>
                <a:gd name="T5" fmla="*/ 0 h 12"/>
                <a:gd name="T6" fmla="*/ 2147483647 w 19"/>
                <a:gd name="T7" fmla="*/ 2147483647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47233" name="Freeform 135"/>
            <p:cNvSpPr>
              <a:spLocks/>
            </p:cNvSpPr>
            <p:nvPr/>
          </p:nvSpPr>
          <p:spPr bwMode="auto">
            <a:xfrm>
              <a:off x="5854700" y="4168775"/>
              <a:ext cx="7938" cy="1588"/>
            </a:xfrm>
            <a:custGeom>
              <a:avLst/>
              <a:gdLst>
                <a:gd name="T0" fmla="*/ 0 w 19"/>
                <a:gd name="T1" fmla="*/ 0 h 1601"/>
                <a:gd name="T2" fmla="*/ 2147483647 w 19"/>
                <a:gd name="T3" fmla="*/ 0 h 1601"/>
                <a:gd name="T4" fmla="*/ 2147483647 w 19"/>
                <a:gd name="T5" fmla="*/ 0 h 1601"/>
                <a:gd name="T6" fmla="*/ 2147483647 w 19"/>
                <a:gd name="T7" fmla="*/ 0 h 1601"/>
                <a:gd name="T8" fmla="*/ 0 w 19"/>
                <a:gd name="T9" fmla="*/ 0 h 16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60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34" name="Rectangle 136"/>
            <p:cNvSpPr>
              <a:spLocks noChangeArrowheads="1"/>
            </p:cNvSpPr>
            <p:nvPr/>
          </p:nvSpPr>
          <p:spPr bwMode="auto">
            <a:xfrm>
              <a:off x="5854700" y="4160838"/>
              <a:ext cx="11113" cy="3175"/>
            </a:xfrm>
            <a:prstGeom prst="rect">
              <a:avLst/>
            </a:prstGeom>
            <a:solidFill>
              <a:srgbClr val="C0C0C0"/>
            </a:solidFill>
            <a:ln w="9525">
              <a:solidFill>
                <a:srgbClr val="FFFFFF"/>
              </a:solidFill>
              <a:miter lim="800000"/>
              <a:headEnd/>
              <a:tailEnd/>
            </a:ln>
          </p:spPr>
          <p:txBody>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FontTx/>
                <a:buNone/>
              </a:pPr>
              <a:endParaRPr lang="en-US" altLang="en-US" sz="1800">
                <a:solidFill>
                  <a:srgbClr val="000000"/>
                </a:solidFill>
              </a:endParaRPr>
            </a:p>
          </p:txBody>
        </p:sp>
        <p:sp>
          <p:nvSpPr>
            <p:cNvPr id="47235" name="Line 137"/>
            <p:cNvSpPr>
              <a:spLocks noChangeShapeType="1"/>
            </p:cNvSpPr>
            <p:nvPr/>
          </p:nvSpPr>
          <p:spPr bwMode="auto">
            <a:xfrm flipV="1">
              <a:off x="5851525" y="4100513"/>
              <a:ext cx="6350"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36" name="Freeform 138"/>
            <p:cNvSpPr>
              <a:spLocks/>
            </p:cNvSpPr>
            <p:nvPr/>
          </p:nvSpPr>
          <p:spPr bwMode="auto">
            <a:xfrm>
              <a:off x="5854700" y="4100513"/>
              <a:ext cx="3175" cy="1587"/>
            </a:xfrm>
            <a:custGeom>
              <a:avLst/>
              <a:gdLst>
                <a:gd name="T0" fmla="*/ 2147483647 w 6"/>
                <a:gd name="T1" fmla="*/ 0 h 3"/>
                <a:gd name="T2" fmla="*/ 2147483647 w 6"/>
                <a:gd name="T3" fmla="*/ 2147483647 h 3"/>
                <a:gd name="T4" fmla="*/ 2147483647 w 6"/>
                <a:gd name="T5" fmla="*/ 2147483647 h 3"/>
                <a:gd name="T6" fmla="*/ 2147483647 w 6"/>
                <a:gd name="T7" fmla="*/ 2147483647 h 3"/>
                <a:gd name="T8" fmla="*/ 0 w 6"/>
                <a:gd name="T9" fmla="*/ 2147483647 h 3"/>
                <a:gd name="T10" fmla="*/ 0 w 6"/>
                <a:gd name="T11" fmla="*/ 2147483647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37" name="Freeform 139"/>
            <p:cNvSpPr>
              <a:spLocks/>
            </p:cNvSpPr>
            <p:nvPr/>
          </p:nvSpPr>
          <p:spPr bwMode="auto">
            <a:xfrm>
              <a:off x="5862638" y="4037013"/>
              <a:ext cx="6350" cy="12700"/>
            </a:xfrm>
            <a:custGeom>
              <a:avLst/>
              <a:gdLst>
                <a:gd name="T0" fmla="*/ 2147483647 w 14"/>
                <a:gd name="T1" fmla="*/ 0 h 24"/>
                <a:gd name="T2" fmla="*/ 2147483647 w 14"/>
                <a:gd name="T3" fmla="*/ 2147483647 h 24"/>
                <a:gd name="T4" fmla="*/ 2147483647 w 14"/>
                <a:gd name="T5" fmla="*/ 2147483647 h 24"/>
                <a:gd name="T6" fmla="*/ 2147483647 w 14"/>
                <a:gd name="T7" fmla="*/ 2147483647 h 24"/>
                <a:gd name="T8" fmla="*/ 0 w 14"/>
                <a:gd name="T9" fmla="*/ 2147483647 h 24"/>
                <a:gd name="T10" fmla="*/ 0 w 14"/>
                <a:gd name="T11" fmla="*/ 2147483647 h 24"/>
                <a:gd name="T12" fmla="*/ 0 w 14"/>
                <a:gd name="T13" fmla="*/ 2147483647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238" name="Line 140"/>
            <p:cNvSpPr>
              <a:spLocks noChangeShapeType="1"/>
            </p:cNvSpPr>
            <p:nvPr/>
          </p:nvSpPr>
          <p:spPr bwMode="auto">
            <a:xfrm>
              <a:off x="5862638" y="4043363"/>
              <a:ext cx="3175" cy="158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39" name="Freeform 141"/>
            <p:cNvSpPr>
              <a:spLocks/>
            </p:cNvSpPr>
            <p:nvPr/>
          </p:nvSpPr>
          <p:spPr bwMode="auto">
            <a:xfrm>
              <a:off x="5857875" y="4064000"/>
              <a:ext cx="4763" cy="4763"/>
            </a:xfrm>
            <a:custGeom>
              <a:avLst/>
              <a:gdLst>
                <a:gd name="T0" fmla="*/ 2147483647 w 13"/>
                <a:gd name="T1" fmla="*/ 2147483647 h 12"/>
                <a:gd name="T2" fmla="*/ 0 w 13"/>
                <a:gd name="T3" fmla="*/ 0 h 12"/>
                <a:gd name="T4" fmla="*/ 2147483647 w 13"/>
                <a:gd name="T5" fmla="*/ 2147483647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47240" name="Freeform 142"/>
            <p:cNvSpPr>
              <a:spLocks/>
            </p:cNvSpPr>
            <p:nvPr/>
          </p:nvSpPr>
          <p:spPr bwMode="auto">
            <a:xfrm>
              <a:off x="5862638" y="4084638"/>
              <a:ext cx="3175" cy="9525"/>
            </a:xfrm>
            <a:custGeom>
              <a:avLst/>
              <a:gdLst>
                <a:gd name="T0" fmla="*/ 0 w 7"/>
                <a:gd name="T1" fmla="*/ 0 h 19"/>
                <a:gd name="T2" fmla="*/ 0 w 7"/>
                <a:gd name="T3" fmla="*/ 2147483647 h 19"/>
                <a:gd name="T4" fmla="*/ 0 w 7"/>
                <a:gd name="T5" fmla="*/ 0 h 19"/>
                <a:gd name="T6" fmla="*/ 2147483647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47241" name="Line 143"/>
            <p:cNvSpPr>
              <a:spLocks noChangeShapeType="1"/>
            </p:cNvSpPr>
            <p:nvPr/>
          </p:nvSpPr>
          <p:spPr bwMode="auto">
            <a:xfrm flipV="1">
              <a:off x="5862638" y="4106863"/>
              <a:ext cx="158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42" name="Freeform 144"/>
            <p:cNvSpPr>
              <a:spLocks/>
            </p:cNvSpPr>
            <p:nvPr/>
          </p:nvSpPr>
          <p:spPr bwMode="auto">
            <a:xfrm>
              <a:off x="5848350" y="4021138"/>
              <a:ext cx="3175" cy="9525"/>
            </a:xfrm>
            <a:custGeom>
              <a:avLst/>
              <a:gdLst>
                <a:gd name="T0" fmla="*/ 0 w 8"/>
                <a:gd name="T1" fmla="*/ 2147483647 h 18"/>
                <a:gd name="T2" fmla="*/ 2147483647 w 8"/>
                <a:gd name="T3" fmla="*/ 2147483647 h 18"/>
                <a:gd name="T4" fmla="*/ 0 w 8"/>
                <a:gd name="T5" fmla="*/ 0 h 18"/>
                <a:gd name="T6" fmla="*/ 0 w 8"/>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243" name="Freeform 145"/>
            <p:cNvSpPr>
              <a:spLocks/>
            </p:cNvSpPr>
            <p:nvPr/>
          </p:nvSpPr>
          <p:spPr bwMode="auto">
            <a:xfrm>
              <a:off x="5845175" y="4000500"/>
              <a:ext cx="3175" cy="11113"/>
            </a:xfrm>
            <a:custGeom>
              <a:avLst/>
              <a:gdLst>
                <a:gd name="T0" fmla="*/ 0 w 6"/>
                <a:gd name="T1" fmla="*/ 0 h 19"/>
                <a:gd name="T2" fmla="*/ 0 w 6"/>
                <a:gd name="T3" fmla="*/ 2147483647 h 19"/>
                <a:gd name="T4" fmla="*/ 2147483647 w 6"/>
                <a:gd name="T5" fmla="*/ 2147483647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47244" name="Freeform 146"/>
            <p:cNvSpPr>
              <a:spLocks/>
            </p:cNvSpPr>
            <p:nvPr/>
          </p:nvSpPr>
          <p:spPr bwMode="auto">
            <a:xfrm>
              <a:off x="5842000" y="3970338"/>
              <a:ext cx="12700" cy="7937"/>
            </a:xfrm>
            <a:custGeom>
              <a:avLst/>
              <a:gdLst>
                <a:gd name="T0" fmla="*/ 0 w 28"/>
                <a:gd name="T1" fmla="*/ 0 h 19"/>
                <a:gd name="T2" fmla="*/ 0 w 28"/>
                <a:gd name="T3" fmla="*/ 2147483647 h 19"/>
                <a:gd name="T4" fmla="*/ 2147483647 w 28"/>
                <a:gd name="T5" fmla="*/ 2147483647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47245" name="Freeform 147"/>
            <p:cNvSpPr>
              <a:spLocks/>
            </p:cNvSpPr>
            <p:nvPr/>
          </p:nvSpPr>
          <p:spPr bwMode="auto">
            <a:xfrm>
              <a:off x="5848350" y="3970338"/>
              <a:ext cx="6350" cy="7937"/>
            </a:xfrm>
            <a:custGeom>
              <a:avLst/>
              <a:gdLst>
                <a:gd name="T0" fmla="*/ 2147483647 w 15"/>
                <a:gd name="T1" fmla="*/ 2147483647 h 19"/>
                <a:gd name="T2" fmla="*/ 2147483647 w 15"/>
                <a:gd name="T3" fmla="*/ 2147483647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46" name="Freeform 148"/>
            <p:cNvSpPr>
              <a:spLocks/>
            </p:cNvSpPr>
            <p:nvPr/>
          </p:nvSpPr>
          <p:spPr bwMode="auto">
            <a:xfrm>
              <a:off x="5822950" y="3836988"/>
              <a:ext cx="9525" cy="9525"/>
            </a:xfrm>
            <a:custGeom>
              <a:avLst/>
              <a:gdLst>
                <a:gd name="T0" fmla="*/ 2147483647 w 20"/>
                <a:gd name="T1" fmla="*/ 2147483647 h 18"/>
                <a:gd name="T2" fmla="*/ 2147483647 w 20"/>
                <a:gd name="T3" fmla="*/ 0 h 18"/>
                <a:gd name="T4" fmla="*/ 0 w 20"/>
                <a:gd name="T5" fmla="*/ 0 h 18"/>
                <a:gd name="T6" fmla="*/ 2147483647 w 20"/>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sp>
          <p:nvSpPr>
            <p:cNvPr id="47247" name="Freeform 150"/>
            <p:cNvSpPr>
              <a:spLocks/>
            </p:cNvSpPr>
            <p:nvPr/>
          </p:nvSpPr>
          <p:spPr bwMode="auto">
            <a:xfrm>
              <a:off x="8035925" y="4438650"/>
              <a:ext cx="17463" cy="46038"/>
            </a:xfrm>
            <a:custGeom>
              <a:avLst/>
              <a:gdLst>
                <a:gd name="T0" fmla="*/ 0 w 40"/>
                <a:gd name="T1" fmla="*/ 2147483647 h 87"/>
                <a:gd name="T2" fmla="*/ 0 w 40"/>
                <a:gd name="T3" fmla="*/ 2147483647 h 87"/>
                <a:gd name="T4" fmla="*/ 2147483647 w 40"/>
                <a:gd name="T5" fmla="*/ 2147483647 h 87"/>
                <a:gd name="T6" fmla="*/ 2147483647 w 40"/>
                <a:gd name="T7" fmla="*/ 2147483647 h 87"/>
                <a:gd name="T8" fmla="*/ 2147483647 w 40"/>
                <a:gd name="T9" fmla="*/ 2147483647 h 87"/>
                <a:gd name="T10" fmla="*/ 2147483647 w 40"/>
                <a:gd name="T11" fmla="*/ 2147483647 h 87"/>
                <a:gd name="T12" fmla="*/ 2147483647 w 40"/>
                <a:gd name="T13" fmla="*/ 2147483647 h 87"/>
                <a:gd name="T14" fmla="*/ 2147483647 w 40"/>
                <a:gd name="T15" fmla="*/ 2147483647 h 87"/>
                <a:gd name="T16" fmla="*/ 2147483647 w 40"/>
                <a:gd name="T17" fmla="*/ 2147483647 h 87"/>
                <a:gd name="T18" fmla="*/ 2147483647 w 40"/>
                <a:gd name="T19" fmla="*/ 2147483647 h 87"/>
                <a:gd name="T20" fmla="*/ 2147483647 w 40"/>
                <a:gd name="T21" fmla="*/ 2147483647 h 87"/>
                <a:gd name="T22" fmla="*/ 2147483647 w 40"/>
                <a:gd name="T23" fmla="*/ 2147483647 h 87"/>
                <a:gd name="T24" fmla="*/ 2147483647 w 40"/>
                <a:gd name="T25" fmla="*/ 2147483647 h 87"/>
                <a:gd name="T26" fmla="*/ 2147483647 w 40"/>
                <a:gd name="T27" fmla="*/ 2147483647 h 87"/>
                <a:gd name="T28" fmla="*/ 2147483647 w 40"/>
                <a:gd name="T29" fmla="*/ 2147483647 h 87"/>
                <a:gd name="T30" fmla="*/ 2147483647 w 40"/>
                <a:gd name="T31" fmla="*/ 2147483647 h 87"/>
                <a:gd name="T32" fmla="*/ 2147483647 w 40"/>
                <a:gd name="T33" fmla="*/ 2147483647 h 87"/>
                <a:gd name="T34" fmla="*/ 2147483647 w 40"/>
                <a:gd name="T35" fmla="*/ 2147483647 h 87"/>
                <a:gd name="T36" fmla="*/ 2147483647 w 40"/>
                <a:gd name="T37" fmla="*/ 2147483647 h 87"/>
                <a:gd name="T38" fmla="*/ 2147483647 w 40"/>
                <a:gd name="T39" fmla="*/ 2147483647 h 87"/>
                <a:gd name="T40" fmla="*/ 0 w 40"/>
                <a:gd name="T41" fmla="*/ 0 h 87"/>
                <a:gd name="T42" fmla="*/ 0 w 40"/>
                <a:gd name="T43" fmla="*/ 2147483647 h 87"/>
                <a:gd name="T44" fmla="*/ 0 w 40"/>
                <a:gd name="T45" fmla="*/ 2147483647 h 87"/>
                <a:gd name="T46" fmla="*/ 0 w 40"/>
                <a:gd name="T47" fmla="*/ 2147483647 h 87"/>
                <a:gd name="T48" fmla="*/ 0 w 40"/>
                <a:gd name="T49" fmla="*/ 2147483647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47248" name="Freeform 151"/>
            <p:cNvSpPr>
              <a:spLocks/>
            </p:cNvSpPr>
            <p:nvPr/>
          </p:nvSpPr>
          <p:spPr bwMode="auto">
            <a:xfrm>
              <a:off x="8047038" y="4497388"/>
              <a:ext cx="26987" cy="20637"/>
            </a:xfrm>
            <a:custGeom>
              <a:avLst/>
              <a:gdLst>
                <a:gd name="T0" fmla="*/ 0 w 61"/>
                <a:gd name="T1" fmla="*/ 2147483647 h 37"/>
                <a:gd name="T2" fmla="*/ 2147483647 w 61"/>
                <a:gd name="T3" fmla="*/ 2147483647 h 37"/>
                <a:gd name="T4" fmla="*/ 2147483647 w 61"/>
                <a:gd name="T5" fmla="*/ 2147483647 h 37"/>
                <a:gd name="T6" fmla="*/ 2147483647 w 61"/>
                <a:gd name="T7" fmla="*/ 2147483647 h 37"/>
                <a:gd name="T8" fmla="*/ 2147483647 w 61"/>
                <a:gd name="T9" fmla="*/ 2147483647 h 37"/>
                <a:gd name="T10" fmla="*/ 2147483647 w 61"/>
                <a:gd name="T11" fmla="*/ 2147483647 h 37"/>
                <a:gd name="T12" fmla="*/ 2147483647 w 61"/>
                <a:gd name="T13" fmla="*/ 2147483647 h 37"/>
                <a:gd name="T14" fmla="*/ 2147483647 w 61"/>
                <a:gd name="T15" fmla="*/ 2147483647 h 37"/>
                <a:gd name="T16" fmla="*/ 2147483647 w 61"/>
                <a:gd name="T17" fmla="*/ 2147483647 h 37"/>
                <a:gd name="T18" fmla="*/ 2147483647 w 61"/>
                <a:gd name="T19" fmla="*/ 2147483647 h 37"/>
                <a:gd name="T20" fmla="*/ 2147483647 w 61"/>
                <a:gd name="T21" fmla="*/ 2147483647 h 37"/>
                <a:gd name="T22" fmla="*/ 2147483647 w 61"/>
                <a:gd name="T23" fmla="*/ 2147483647 h 37"/>
                <a:gd name="T24" fmla="*/ 0 w 61"/>
                <a:gd name="T25" fmla="*/ 0 h 37"/>
                <a:gd name="T26" fmla="*/ 0 w 61"/>
                <a:gd name="T27" fmla="*/ 2147483647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47249" name="Freeform 152"/>
            <p:cNvSpPr>
              <a:spLocks/>
            </p:cNvSpPr>
            <p:nvPr/>
          </p:nvSpPr>
          <p:spPr bwMode="auto">
            <a:xfrm>
              <a:off x="7999413" y="4535488"/>
              <a:ext cx="17462" cy="15875"/>
            </a:xfrm>
            <a:custGeom>
              <a:avLst/>
              <a:gdLst>
                <a:gd name="T0" fmla="*/ 2147483647 w 40"/>
                <a:gd name="T1" fmla="*/ 2147483647 h 30"/>
                <a:gd name="T2" fmla="*/ 2147483647 w 40"/>
                <a:gd name="T3" fmla="*/ 2147483647 h 30"/>
                <a:gd name="T4" fmla="*/ 2147483647 w 40"/>
                <a:gd name="T5" fmla="*/ 2147483647 h 30"/>
                <a:gd name="T6" fmla="*/ 2147483647 w 40"/>
                <a:gd name="T7" fmla="*/ 2147483647 h 30"/>
                <a:gd name="T8" fmla="*/ 2147483647 w 40"/>
                <a:gd name="T9" fmla="*/ 2147483647 h 30"/>
                <a:gd name="T10" fmla="*/ 2147483647 w 40"/>
                <a:gd name="T11" fmla="*/ 2147483647 h 30"/>
                <a:gd name="T12" fmla="*/ 2147483647 w 40"/>
                <a:gd name="T13" fmla="*/ 2147483647 h 30"/>
                <a:gd name="T14" fmla="*/ 2147483647 w 40"/>
                <a:gd name="T15" fmla="*/ 2147483647 h 30"/>
                <a:gd name="T16" fmla="*/ 0 w 40"/>
                <a:gd name="T17" fmla="*/ 0 h 30"/>
                <a:gd name="T18" fmla="*/ 2147483647 w 40"/>
                <a:gd name="T19" fmla="*/ 2147483647 h 30"/>
                <a:gd name="T20" fmla="*/ 2147483647 w 40"/>
                <a:gd name="T21" fmla="*/ 2147483647 h 30"/>
                <a:gd name="T22" fmla="*/ 2147483647 w 40"/>
                <a:gd name="T23" fmla="*/ 2147483647 h 30"/>
                <a:gd name="T24" fmla="*/ 2147483647 w 40"/>
                <a:gd name="T25" fmla="*/ 2147483647 h 30"/>
                <a:gd name="T26" fmla="*/ 2147483647 w 40"/>
                <a:gd name="T27" fmla="*/ 2147483647 h 30"/>
                <a:gd name="T28" fmla="*/ 2147483647 w 40"/>
                <a:gd name="T29" fmla="*/ 2147483647 h 30"/>
                <a:gd name="T30" fmla="*/ 2147483647 w 40"/>
                <a:gd name="T31" fmla="*/ 2147483647 h 30"/>
                <a:gd name="T32" fmla="*/ 2147483647 w 40"/>
                <a:gd name="T33" fmla="*/ 2147483647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47250" name="Freeform 153"/>
            <p:cNvSpPr>
              <a:spLocks/>
            </p:cNvSpPr>
            <p:nvPr/>
          </p:nvSpPr>
          <p:spPr bwMode="auto">
            <a:xfrm>
              <a:off x="7927975" y="4411663"/>
              <a:ext cx="31750" cy="42862"/>
            </a:xfrm>
            <a:custGeom>
              <a:avLst/>
              <a:gdLst>
                <a:gd name="T0" fmla="*/ 2147483647 w 74"/>
                <a:gd name="T1" fmla="*/ 2147483647 h 80"/>
                <a:gd name="T2" fmla="*/ 2147483647 w 74"/>
                <a:gd name="T3" fmla="*/ 2147483647 h 80"/>
                <a:gd name="T4" fmla="*/ 2147483647 w 74"/>
                <a:gd name="T5" fmla="*/ 2147483647 h 80"/>
                <a:gd name="T6" fmla="*/ 2147483647 w 74"/>
                <a:gd name="T7" fmla="*/ 2147483647 h 80"/>
                <a:gd name="T8" fmla="*/ 2147483647 w 74"/>
                <a:gd name="T9" fmla="*/ 2147483647 h 80"/>
                <a:gd name="T10" fmla="*/ 2147483647 w 74"/>
                <a:gd name="T11" fmla="*/ 2147483647 h 80"/>
                <a:gd name="T12" fmla="*/ 2147483647 w 74"/>
                <a:gd name="T13" fmla="*/ 2147483647 h 80"/>
                <a:gd name="T14" fmla="*/ 2147483647 w 74"/>
                <a:gd name="T15" fmla="*/ 2147483647 h 80"/>
                <a:gd name="T16" fmla="*/ 2147483647 w 74"/>
                <a:gd name="T17" fmla="*/ 2147483647 h 80"/>
                <a:gd name="T18" fmla="*/ 2147483647 w 74"/>
                <a:gd name="T19" fmla="*/ 2147483647 h 80"/>
                <a:gd name="T20" fmla="*/ 2147483647 w 74"/>
                <a:gd name="T21" fmla="*/ 0 h 80"/>
                <a:gd name="T22" fmla="*/ 2147483647 w 74"/>
                <a:gd name="T23" fmla="*/ 2147483647 h 80"/>
                <a:gd name="T24" fmla="*/ 2147483647 w 74"/>
                <a:gd name="T25" fmla="*/ 2147483647 h 80"/>
                <a:gd name="T26" fmla="*/ 2147483647 w 74"/>
                <a:gd name="T27" fmla="*/ 2147483647 h 80"/>
                <a:gd name="T28" fmla="*/ 0 w 74"/>
                <a:gd name="T29" fmla="*/ 2147483647 h 80"/>
                <a:gd name="T30" fmla="*/ 0 w 74"/>
                <a:gd name="T31" fmla="*/ 2147483647 h 80"/>
                <a:gd name="T32" fmla="*/ 2147483647 w 74"/>
                <a:gd name="T33" fmla="*/ 2147483647 h 80"/>
                <a:gd name="T34" fmla="*/ 2147483647 w 74"/>
                <a:gd name="T35" fmla="*/ 2147483647 h 80"/>
                <a:gd name="T36" fmla="*/ 2147483647 w 74"/>
                <a:gd name="T37" fmla="*/ 2147483647 h 80"/>
                <a:gd name="T38" fmla="*/ 2147483647 w 74"/>
                <a:gd name="T39" fmla="*/ 2147483647 h 80"/>
                <a:gd name="T40" fmla="*/ 2147483647 w 74"/>
                <a:gd name="T41" fmla="*/ 2147483647 h 80"/>
                <a:gd name="T42" fmla="*/ 2147483647 w 74"/>
                <a:gd name="T43" fmla="*/ 2147483647 h 80"/>
                <a:gd name="T44" fmla="*/ 2147483647 w 74"/>
                <a:gd name="T45" fmla="*/ 2147483647 h 80"/>
                <a:gd name="T46" fmla="*/ 2147483647 w 74"/>
                <a:gd name="T47" fmla="*/ 2147483647 h 80"/>
                <a:gd name="T48" fmla="*/ 2147483647 w 74"/>
                <a:gd name="T49" fmla="*/ 2147483647 h 80"/>
                <a:gd name="T50" fmla="*/ 2147483647 w 74"/>
                <a:gd name="T51" fmla="*/ 2147483647 h 80"/>
                <a:gd name="T52" fmla="*/ 2147483647 w 74"/>
                <a:gd name="T53" fmla="*/ 2147483647 h 80"/>
                <a:gd name="T54" fmla="*/ 2147483647 w 74"/>
                <a:gd name="T55" fmla="*/ 2147483647 h 80"/>
                <a:gd name="T56" fmla="*/ 2147483647 w 74"/>
                <a:gd name="T57" fmla="*/ 2147483647 h 80"/>
                <a:gd name="T58" fmla="*/ 2147483647 w 74"/>
                <a:gd name="T59" fmla="*/ 2147483647 h 80"/>
                <a:gd name="T60" fmla="*/ 2147483647 w 74"/>
                <a:gd name="T61" fmla="*/ 2147483647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47251" name="Freeform 154"/>
            <p:cNvSpPr>
              <a:spLocks/>
            </p:cNvSpPr>
            <p:nvPr/>
          </p:nvSpPr>
          <p:spPr bwMode="auto">
            <a:xfrm>
              <a:off x="7981950" y="4405313"/>
              <a:ext cx="34925" cy="44450"/>
            </a:xfrm>
            <a:custGeom>
              <a:avLst/>
              <a:gdLst>
                <a:gd name="T0" fmla="*/ 2147483647 w 86"/>
                <a:gd name="T1" fmla="*/ 2147483647 h 80"/>
                <a:gd name="T2" fmla="*/ 2147483647 w 86"/>
                <a:gd name="T3" fmla="*/ 2147483647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0 w 86"/>
                <a:gd name="T25" fmla="*/ 0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47252" name="Freeform 155"/>
            <p:cNvSpPr>
              <a:spLocks/>
            </p:cNvSpPr>
            <p:nvPr/>
          </p:nvSpPr>
          <p:spPr bwMode="auto">
            <a:xfrm>
              <a:off x="8002588" y="4470400"/>
              <a:ext cx="33337" cy="17463"/>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47253" name="Freeform 156"/>
            <p:cNvSpPr>
              <a:spLocks/>
            </p:cNvSpPr>
            <p:nvPr/>
          </p:nvSpPr>
          <p:spPr bwMode="auto">
            <a:xfrm>
              <a:off x="7991475" y="4460875"/>
              <a:ext cx="7938" cy="1588"/>
            </a:xfrm>
            <a:custGeom>
              <a:avLst/>
              <a:gdLst>
                <a:gd name="T0" fmla="*/ 2147483647 w 20"/>
                <a:gd name="T1" fmla="*/ 0 h 1624"/>
                <a:gd name="T2" fmla="*/ 0 w 20"/>
                <a:gd name="T3" fmla="*/ 0 h 1624"/>
                <a:gd name="T4" fmla="*/ 2147483647 w 20"/>
                <a:gd name="T5" fmla="*/ 0 h 1624"/>
                <a:gd name="T6" fmla="*/ 2147483647 w 20"/>
                <a:gd name="T7" fmla="*/ 0 h 16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624">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254" name="Freeform 157"/>
            <p:cNvSpPr>
              <a:spLocks/>
            </p:cNvSpPr>
            <p:nvPr/>
          </p:nvSpPr>
          <p:spPr bwMode="auto">
            <a:xfrm>
              <a:off x="7920038" y="4379913"/>
              <a:ext cx="42862" cy="33337"/>
            </a:xfrm>
            <a:custGeom>
              <a:avLst/>
              <a:gdLst>
                <a:gd name="T0" fmla="*/ 2147483647 w 100"/>
                <a:gd name="T1" fmla="*/ 2147483647 h 65"/>
                <a:gd name="T2" fmla="*/ 2147483647 w 100"/>
                <a:gd name="T3" fmla="*/ 2147483647 h 65"/>
                <a:gd name="T4" fmla="*/ 2147483647 w 100"/>
                <a:gd name="T5" fmla="*/ 2147483647 h 65"/>
                <a:gd name="T6" fmla="*/ 2147483647 w 100"/>
                <a:gd name="T7" fmla="*/ 2147483647 h 65"/>
                <a:gd name="T8" fmla="*/ 2147483647 w 100"/>
                <a:gd name="T9" fmla="*/ 2147483647 h 65"/>
                <a:gd name="T10" fmla="*/ 2147483647 w 100"/>
                <a:gd name="T11" fmla="*/ 2147483647 h 65"/>
                <a:gd name="T12" fmla="*/ 2147483647 w 100"/>
                <a:gd name="T13" fmla="*/ 2147483647 h 65"/>
                <a:gd name="T14" fmla="*/ 2147483647 w 100"/>
                <a:gd name="T15" fmla="*/ 2147483647 h 65"/>
                <a:gd name="T16" fmla="*/ 2147483647 w 100"/>
                <a:gd name="T17" fmla="*/ 2147483647 h 65"/>
                <a:gd name="T18" fmla="*/ 2147483647 w 100"/>
                <a:gd name="T19" fmla="*/ 2147483647 h 65"/>
                <a:gd name="T20" fmla="*/ 2147483647 w 100"/>
                <a:gd name="T21" fmla="*/ 2147483647 h 65"/>
                <a:gd name="T22" fmla="*/ 2147483647 w 100"/>
                <a:gd name="T23" fmla="*/ 2147483647 h 65"/>
                <a:gd name="T24" fmla="*/ 2147483647 w 100"/>
                <a:gd name="T25" fmla="*/ 2147483647 h 65"/>
                <a:gd name="T26" fmla="*/ 2147483647 w 100"/>
                <a:gd name="T27" fmla="*/ 2147483647 h 65"/>
                <a:gd name="T28" fmla="*/ 2147483647 w 100"/>
                <a:gd name="T29" fmla="*/ 2147483647 h 65"/>
                <a:gd name="T30" fmla="*/ 2147483647 w 100"/>
                <a:gd name="T31" fmla="*/ 2147483647 h 65"/>
                <a:gd name="T32" fmla="*/ 2147483647 w 100"/>
                <a:gd name="T33" fmla="*/ 2147483647 h 65"/>
                <a:gd name="T34" fmla="*/ 2147483647 w 100"/>
                <a:gd name="T35" fmla="*/ 2147483647 h 65"/>
                <a:gd name="T36" fmla="*/ 2147483647 w 100"/>
                <a:gd name="T37" fmla="*/ 2147483647 h 65"/>
                <a:gd name="T38" fmla="*/ 2147483647 w 100"/>
                <a:gd name="T39" fmla="*/ 0 h 65"/>
                <a:gd name="T40" fmla="*/ 2147483647 w 100"/>
                <a:gd name="T41" fmla="*/ 0 h 65"/>
                <a:gd name="T42" fmla="*/ 2147483647 w 100"/>
                <a:gd name="T43" fmla="*/ 2147483647 h 65"/>
                <a:gd name="T44" fmla="*/ 0 w 100"/>
                <a:gd name="T45" fmla="*/ 2147483647 h 65"/>
                <a:gd name="T46" fmla="*/ 2147483647 w 100"/>
                <a:gd name="T47" fmla="*/ 2147483647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47255" name="Freeform 158"/>
            <p:cNvSpPr>
              <a:spLocks/>
            </p:cNvSpPr>
            <p:nvPr/>
          </p:nvSpPr>
          <p:spPr bwMode="auto">
            <a:xfrm>
              <a:off x="7888288" y="4337050"/>
              <a:ext cx="31750" cy="55563"/>
            </a:xfrm>
            <a:custGeom>
              <a:avLst/>
              <a:gdLst>
                <a:gd name="T0" fmla="*/ 2147483647 w 79"/>
                <a:gd name="T1" fmla="*/ 2147483647 h 104"/>
                <a:gd name="T2" fmla="*/ 2147483647 w 79"/>
                <a:gd name="T3" fmla="*/ 2147483647 h 104"/>
                <a:gd name="T4" fmla="*/ 2147483647 w 79"/>
                <a:gd name="T5" fmla="*/ 2147483647 h 104"/>
                <a:gd name="T6" fmla="*/ 2147483647 w 79"/>
                <a:gd name="T7" fmla="*/ 2147483647 h 104"/>
                <a:gd name="T8" fmla="*/ 2147483647 w 79"/>
                <a:gd name="T9" fmla="*/ 0 h 104"/>
                <a:gd name="T10" fmla="*/ 2147483647 w 79"/>
                <a:gd name="T11" fmla="*/ 2147483647 h 104"/>
                <a:gd name="T12" fmla="*/ 2147483647 w 79"/>
                <a:gd name="T13" fmla="*/ 2147483647 h 104"/>
                <a:gd name="T14" fmla="*/ 0 w 79"/>
                <a:gd name="T15" fmla="*/ 2147483647 h 104"/>
                <a:gd name="T16" fmla="*/ 0 w 79"/>
                <a:gd name="T17" fmla="*/ 2147483647 h 104"/>
                <a:gd name="T18" fmla="*/ 0 w 79"/>
                <a:gd name="T19" fmla="*/ 2147483647 h 104"/>
                <a:gd name="T20" fmla="*/ 0 w 79"/>
                <a:gd name="T21" fmla="*/ 2147483647 h 104"/>
                <a:gd name="T22" fmla="*/ 2147483647 w 79"/>
                <a:gd name="T23" fmla="*/ 2147483647 h 104"/>
                <a:gd name="T24" fmla="*/ 2147483647 w 79"/>
                <a:gd name="T25" fmla="*/ 2147483647 h 104"/>
                <a:gd name="T26" fmla="*/ 2147483647 w 79"/>
                <a:gd name="T27" fmla="*/ 2147483647 h 104"/>
                <a:gd name="T28" fmla="*/ 2147483647 w 79"/>
                <a:gd name="T29" fmla="*/ 2147483647 h 104"/>
                <a:gd name="T30" fmla="*/ 2147483647 w 79"/>
                <a:gd name="T31" fmla="*/ 2147483647 h 104"/>
                <a:gd name="T32" fmla="*/ 2147483647 w 79"/>
                <a:gd name="T33" fmla="*/ 2147483647 h 104"/>
                <a:gd name="T34" fmla="*/ 2147483647 w 79"/>
                <a:gd name="T35" fmla="*/ 2147483647 h 104"/>
                <a:gd name="T36" fmla="*/ 2147483647 w 79"/>
                <a:gd name="T37" fmla="*/ 2147483647 h 104"/>
                <a:gd name="T38" fmla="*/ 2147483647 w 79"/>
                <a:gd name="T39" fmla="*/ 2147483647 h 104"/>
                <a:gd name="T40" fmla="*/ 2147483647 w 79"/>
                <a:gd name="T41" fmla="*/ 2147483647 h 104"/>
                <a:gd name="T42" fmla="*/ 2147483647 w 79"/>
                <a:gd name="T43" fmla="*/ 2147483647 h 104"/>
                <a:gd name="T44" fmla="*/ 2147483647 w 79"/>
                <a:gd name="T45" fmla="*/ 2147483647 h 104"/>
                <a:gd name="T46" fmla="*/ 2147483647 w 79"/>
                <a:gd name="T47" fmla="*/ 2147483647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sp>
          <p:nvSpPr>
            <p:cNvPr id="47256" name="Freeform 159"/>
            <p:cNvSpPr>
              <a:spLocks/>
            </p:cNvSpPr>
            <p:nvPr>
              <p:custDataLst>
                <p:tags r:id="rId83"/>
              </p:custDataLst>
            </p:nvPr>
          </p:nvSpPr>
          <p:spPr bwMode="auto">
            <a:xfrm>
              <a:off x="4233863" y="4075113"/>
              <a:ext cx="11112"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47257" name="Freeform 160"/>
            <p:cNvSpPr>
              <a:spLocks/>
            </p:cNvSpPr>
            <p:nvPr>
              <p:custDataLst>
                <p:tags r:id="rId84"/>
              </p:custDataLst>
            </p:nvPr>
          </p:nvSpPr>
          <p:spPr bwMode="auto">
            <a:xfrm>
              <a:off x="4157663" y="4214813"/>
              <a:ext cx="14287"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58" name="Freeform 161"/>
            <p:cNvSpPr>
              <a:spLocks/>
            </p:cNvSpPr>
            <p:nvPr>
              <p:custDataLst>
                <p:tags r:id="rId85"/>
              </p:custDataLst>
            </p:nvPr>
          </p:nvSpPr>
          <p:spPr bwMode="auto">
            <a:xfrm>
              <a:off x="5956300" y="2541588"/>
              <a:ext cx="728663"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47259" name="Freeform 162"/>
            <p:cNvSpPr>
              <a:spLocks/>
            </p:cNvSpPr>
            <p:nvPr>
              <p:custDataLst>
                <p:tags r:id="rId86"/>
              </p:custDataLst>
            </p:nvPr>
          </p:nvSpPr>
          <p:spPr bwMode="auto">
            <a:xfrm>
              <a:off x="2282825" y="4508500"/>
              <a:ext cx="328613"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0" name="Freeform 163"/>
            <p:cNvSpPr>
              <a:spLocks/>
            </p:cNvSpPr>
            <p:nvPr>
              <p:custDataLst>
                <p:tags r:id="rId87"/>
              </p:custDataLst>
            </p:nvPr>
          </p:nvSpPr>
          <p:spPr bwMode="auto">
            <a:xfrm>
              <a:off x="2497138" y="3938588"/>
              <a:ext cx="119062"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1" name="Freeform 165"/>
            <p:cNvSpPr>
              <a:spLocks/>
            </p:cNvSpPr>
            <p:nvPr/>
          </p:nvSpPr>
          <p:spPr bwMode="auto">
            <a:xfrm>
              <a:off x="2414588" y="3843338"/>
              <a:ext cx="23812" cy="11112"/>
            </a:xfrm>
            <a:custGeom>
              <a:avLst/>
              <a:gdLst>
                <a:gd name="T0" fmla="*/ 0 w 54"/>
                <a:gd name="T1" fmla="*/ 0 h 22"/>
                <a:gd name="T2" fmla="*/ 0 w 54"/>
                <a:gd name="T3" fmla="*/ 2147483647 h 22"/>
                <a:gd name="T4" fmla="*/ 2147483647 w 54"/>
                <a:gd name="T5" fmla="*/ 2147483647 h 22"/>
                <a:gd name="T6" fmla="*/ 2147483647 w 54"/>
                <a:gd name="T7" fmla="*/ 2147483647 h 22"/>
                <a:gd name="T8" fmla="*/ 2147483647 w 54"/>
                <a:gd name="T9" fmla="*/ 2147483647 h 22"/>
                <a:gd name="T10" fmla="*/ 2147483647 w 54"/>
                <a:gd name="T11" fmla="*/ 2147483647 h 22"/>
                <a:gd name="T12" fmla="*/ 2147483647 w 54"/>
                <a:gd name="T13" fmla="*/ 2147483647 h 22"/>
                <a:gd name="T14" fmla="*/ 2147483647 w 54"/>
                <a:gd name="T15" fmla="*/ 2147483647 h 22"/>
                <a:gd name="T16" fmla="*/ 2147483647 w 54"/>
                <a:gd name="T17" fmla="*/ 2147483647 h 22"/>
                <a:gd name="T18" fmla="*/ 2147483647 w 54"/>
                <a:gd name="T19" fmla="*/ 2147483647 h 22"/>
                <a:gd name="T20" fmla="*/ 2147483647 w 54"/>
                <a:gd name="T21" fmla="*/ 2147483647 h 22"/>
                <a:gd name="T22" fmla="*/ 2147483647 w 54"/>
                <a:gd name="T23" fmla="*/ 2147483647 h 22"/>
                <a:gd name="T24" fmla="*/ 2147483647 w 54"/>
                <a:gd name="T25" fmla="*/ 2147483647 h 22"/>
                <a:gd name="T26" fmla="*/ 2147483647 w 54"/>
                <a:gd name="T27" fmla="*/ 2147483647 h 22"/>
                <a:gd name="T28" fmla="*/ 2147483647 w 54"/>
                <a:gd name="T29" fmla="*/ 2147483647 h 22"/>
                <a:gd name="T30" fmla="*/ 2147483647 w 54"/>
                <a:gd name="T31" fmla="*/ 2147483647 h 22"/>
                <a:gd name="T32" fmla="*/ 2147483647 w 54"/>
                <a:gd name="T33" fmla="*/ 2147483647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2" name="Freeform 166"/>
            <p:cNvSpPr>
              <a:spLocks/>
            </p:cNvSpPr>
            <p:nvPr/>
          </p:nvSpPr>
          <p:spPr bwMode="auto">
            <a:xfrm>
              <a:off x="2263775" y="3773488"/>
              <a:ext cx="3175" cy="12700"/>
            </a:xfrm>
            <a:custGeom>
              <a:avLst/>
              <a:gdLst>
                <a:gd name="T0" fmla="*/ 2147483647 w 6"/>
                <a:gd name="T1" fmla="*/ 2147483647 h 24"/>
                <a:gd name="T2" fmla="*/ 2147483647 w 6"/>
                <a:gd name="T3" fmla="*/ 0 h 24"/>
                <a:gd name="T4" fmla="*/ 2147483647 w 6"/>
                <a:gd name="T5" fmla="*/ 2147483647 h 24"/>
                <a:gd name="T6" fmla="*/ 2147483647 w 6"/>
                <a:gd name="T7" fmla="*/ 2147483647 h 24"/>
                <a:gd name="T8" fmla="*/ 0 w 6"/>
                <a:gd name="T9" fmla="*/ 2147483647 h 24"/>
                <a:gd name="T10" fmla="*/ 0 w 6"/>
                <a:gd name="T11" fmla="*/ 2147483647 h 24"/>
                <a:gd name="T12" fmla="*/ 0 w 6"/>
                <a:gd name="T13" fmla="*/ 2147483647 h 24"/>
                <a:gd name="T14" fmla="*/ 2147483647 w 6"/>
                <a:gd name="T15" fmla="*/ 2147483647 h 24"/>
                <a:gd name="T16" fmla="*/ 2147483647 w 6"/>
                <a:gd name="T17" fmla="*/ 2147483647 h 24"/>
                <a:gd name="T18" fmla="*/ 2147483647 w 6"/>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3" name="Freeform 167"/>
            <p:cNvSpPr>
              <a:spLocks/>
            </p:cNvSpPr>
            <p:nvPr/>
          </p:nvSpPr>
          <p:spPr bwMode="auto">
            <a:xfrm>
              <a:off x="2305050" y="3814763"/>
              <a:ext cx="11113" cy="6350"/>
            </a:xfrm>
            <a:custGeom>
              <a:avLst/>
              <a:gdLst>
                <a:gd name="T0" fmla="*/ 0 w 27"/>
                <a:gd name="T1" fmla="*/ 2147483647 h 12"/>
                <a:gd name="T2" fmla="*/ 2147483647 w 27"/>
                <a:gd name="T3" fmla="*/ 2147483647 h 12"/>
                <a:gd name="T4" fmla="*/ 2147483647 w 27"/>
                <a:gd name="T5" fmla="*/ 0 h 12"/>
                <a:gd name="T6" fmla="*/ 0 w 27"/>
                <a:gd name="T7" fmla="*/ 2147483647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4" name="Freeform 168"/>
            <p:cNvSpPr>
              <a:spLocks/>
            </p:cNvSpPr>
            <p:nvPr/>
          </p:nvSpPr>
          <p:spPr bwMode="auto">
            <a:xfrm>
              <a:off x="2211388" y="3824288"/>
              <a:ext cx="323850" cy="350837"/>
            </a:xfrm>
            <a:custGeom>
              <a:avLst/>
              <a:gdLst>
                <a:gd name="T0" fmla="*/ 2147483647 w 743"/>
                <a:gd name="T1" fmla="*/ 2147483647 h 672"/>
                <a:gd name="T2" fmla="*/ 2147483647 w 743"/>
                <a:gd name="T3" fmla="*/ 2147483647 h 672"/>
                <a:gd name="T4" fmla="*/ 2147483647 w 743"/>
                <a:gd name="T5" fmla="*/ 2147483647 h 672"/>
                <a:gd name="T6" fmla="*/ 2147483647 w 743"/>
                <a:gd name="T7" fmla="*/ 2147483647 h 672"/>
                <a:gd name="T8" fmla="*/ 2147483647 w 743"/>
                <a:gd name="T9" fmla="*/ 2147483647 h 672"/>
                <a:gd name="T10" fmla="*/ 2147483647 w 743"/>
                <a:gd name="T11" fmla="*/ 2147483647 h 672"/>
                <a:gd name="T12" fmla="*/ 2147483647 w 743"/>
                <a:gd name="T13" fmla="*/ 2147483647 h 672"/>
                <a:gd name="T14" fmla="*/ 2147483647 w 743"/>
                <a:gd name="T15" fmla="*/ 2147483647 h 672"/>
                <a:gd name="T16" fmla="*/ 2147483647 w 743"/>
                <a:gd name="T17" fmla="*/ 2147483647 h 672"/>
                <a:gd name="T18" fmla="*/ 2147483647 w 743"/>
                <a:gd name="T19" fmla="*/ 2147483647 h 672"/>
                <a:gd name="T20" fmla="*/ 2147483647 w 743"/>
                <a:gd name="T21" fmla="*/ 2147483647 h 672"/>
                <a:gd name="T22" fmla="*/ 2147483647 w 743"/>
                <a:gd name="T23" fmla="*/ 2147483647 h 672"/>
                <a:gd name="T24" fmla="*/ 2147483647 w 743"/>
                <a:gd name="T25" fmla="*/ 2147483647 h 672"/>
                <a:gd name="T26" fmla="*/ 2147483647 w 743"/>
                <a:gd name="T27" fmla="*/ 2147483647 h 672"/>
                <a:gd name="T28" fmla="*/ 2147483647 w 743"/>
                <a:gd name="T29" fmla="*/ 2147483647 h 672"/>
                <a:gd name="T30" fmla="*/ 2147483647 w 743"/>
                <a:gd name="T31" fmla="*/ 2147483647 h 672"/>
                <a:gd name="T32" fmla="*/ 2147483647 w 743"/>
                <a:gd name="T33" fmla="*/ 2147483647 h 672"/>
                <a:gd name="T34" fmla="*/ 2147483647 w 743"/>
                <a:gd name="T35" fmla="*/ 2147483647 h 672"/>
                <a:gd name="T36" fmla="*/ 2147483647 w 743"/>
                <a:gd name="T37" fmla="*/ 2147483647 h 672"/>
                <a:gd name="T38" fmla="*/ 2147483647 w 743"/>
                <a:gd name="T39" fmla="*/ 2147483647 h 672"/>
                <a:gd name="T40" fmla="*/ 2147483647 w 743"/>
                <a:gd name="T41" fmla="*/ 2147483647 h 672"/>
                <a:gd name="T42" fmla="*/ 2147483647 w 743"/>
                <a:gd name="T43" fmla="*/ 2147483647 h 672"/>
                <a:gd name="T44" fmla="*/ 2147483647 w 743"/>
                <a:gd name="T45" fmla="*/ 2147483647 h 672"/>
                <a:gd name="T46" fmla="*/ 2147483647 w 743"/>
                <a:gd name="T47" fmla="*/ 2147483647 h 672"/>
                <a:gd name="T48" fmla="*/ 2147483647 w 743"/>
                <a:gd name="T49" fmla="*/ 2147483647 h 672"/>
                <a:gd name="T50" fmla="*/ 2147483647 w 743"/>
                <a:gd name="T51" fmla="*/ 2147483647 h 672"/>
                <a:gd name="T52" fmla="*/ 2147483647 w 743"/>
                <a:gd name="T53" fmla="*/ 2147483647 h 672"/>
                <a:gd name="T54" fmla="*/ 2147483647 w 743"/>
                <a:gd name="T55" fmla="*/ 2147483647 h 672"/>
                <a:gd name="T56" fmla="*/ 2147483647 w 743"/>
                <a:gd name="T57" fmla="*/ 2147483647 h 672"/>
                <a:gd name="T58" fmla="*/ 2147483647 w 743"/>
                <a:gd name="T59" fmla="*/ 2147483647 h 672"/>
                <a:gd name="T60" fmla="*/ 2147483647 w 743"/>
                <a:gd name="T61" fmla="*/ 2147483647 h 672"/>
                <a:gd name="T62" fmla="*/ 2147483647 w 743"/>
                <a:gd name="T63" fmla="*/ 2147483647 h 672"/>
                <a:gd name="T64" fmla="*/ 2147483647 w 743"/>
                <a:gd name="T65" fmla="*/ 2147483647 h 672"/>
                <a:gd name="T66" fmla="*/ 2147483647 w 743"/>
                <a:gd name="T67" fmla="*/ 2147483647 h 672"/>
                <a:gd name="T68" fmla="*/ 2147483647 w 743"/>
                <a:gd name="T69" fmla="*/ 2147483647 h 672"/>
                <a:gd name="T70" fmla="*/ 2147483647 w 743"/>
                <a:gd name="T71" fmla="*/ 2147483647 h 672"/>
                <a:gd name="T72" fmla="*/ 2147483647 w 743"/>
                <a:gd name="T73" fmla="*/ 2147483647 h 672"/>
                <a:gd name="T74" fmla="*/ 2147483647 w 743"/>
                <a:gd name="T75" fmla="*/ 2147483647 h 672"/>
                <a:gd name="T76" fmla="*/ 2147483647 w 743"/>
                <a:gd name="T77" fmla="*/ 2147483647 h 672"/>
                <a:gd name="T78" fmla="*/ 2147483647 w 743"/>
                <a:gd name="T79" fmla="*/ 2147483647 h 672"/>
                <a:gd name="T80" fmla="*/ 2147483647 w 743"/>
                <a:gd name="T81" fmla="*/ 2147483647 h 672"/>
                <a:gd name="T82" fmla="*/ 2147483647 w 743"/>
                <a:gd name="T83" fmla="*/ 2147483647 h 672"/>
                <a:gd name="T84" fmla="*/ 2147483647 w 743"/>
                <a:gd name="T85" fmla="*/ 2147483647 h 672"/>
                <a:gd name="T86" fmla="*/ 2147483647 w 743"/>
                <a:gd name="T87" fmla="*/ 2147483647 h 672"/>
                <a:gd name="T88" fmla="*/ 2147483647 w 743"/>
                <a:gd name="T89" fmla="*/ 2147483647 h 672"/>
                <a:gd name="T90" fmla="*/ 2147483647 w 743"/>
                <a:gd name="T91" fmla="*/ 2147483647 h 672"/>
                <a:gd name="T92" fmla="*/ 2147483647 w 743"/>
                <a:gd name="T93" fmla="*/ 2147483647 h 672"/>
                <a:gd name="T94" fmla="*/ 2147483647 w 743"/>
                <a:gd name="T95" fmla="*/ 2147483647 h 672"/>
                <a:gd name="T96" fmla="*/ 2147483647 w 743"/>
                <a:gd name="T97" fmla="*/ 2147483647 h 672"/>
                <a:gd name="T98" fmla="*/ 2147483647 w 743"/>
                <a:gd name="T99" fmla="*/ 2147483647 h 672"/>
                <a:gd name="T100" fmla="*/ 2147483647 w 743"/>
                <a:gd name="T101" fmla="*/ 2147483647 h 672"/>
                <a:gd name="T102" fmla="*/ 2147483647 w 743"/>
                <a:gd name="T103" fmla="*/ 2147483647 h 672"/>
                <a:gd name="T104" fmla="*/ 2147483647 w 743"/>
                <a:gd name="T105" fmla="*/ 2147483647 h 672"/>
                <a:gd name="T106" fmla="*/ 2147483647 w 743"/>
                <a:gd name="T107" fmla="*/ 2147483647 h 672"/>
                <a:gd name="T108" fmla="*/ 2147483647 w 743"/>
                <a:gd name="T109" fmla="*/ 2147483647 h 672"/>
                <a:gd name="T110" fmla="*/ 2147483647 w 743"/>
                <a:gd name="T111" fmla="*/ 2147483647 h 672"/>
                <a:gd name="T112" fmla="*/ 2147483647 w 743"/>
                <a:gd name="T113" fmla="*/ 2147483647 h 672"/>
                <a:gd name="T114" fmla="*/ 2147483647 w 743"/>
                <a:gd name="T115" fmla="*/ 2147483647 h 672"/>
                <a:gd name="T116" fmla="*/ 2147483647 w 743"/>
                <a:gd name="T117" fmla="*/ 2147483647 h 672"/>
                <a:gd name="T118" fmla="*/ 2147483647 w 743"/>
                <a:gd name="T119" fmla="*/ 2147483647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65" name="Freeform 169"/>
            <p:cNvSpPr>
              <a:spLocks/>
            </p:cNvSpPr>
            <p:nvPr>
              <p:custDataLst>
                <p:tags r:id="rId88"/>
              </p:custDataLst>
            </p:nvPr>
          </p:nvSpPr>
          <p:spPr bwMode="auto">
            <a:xfrm>
              <a:off x="7232650" y="531336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47266" name="Freeform 170"/>
            <p:cNvSpPr>
              <a:spLocks/>
            </p:cNvSpPr>
            <p:nvPr>
              <p:custDataLst>
                <p:tags r:id="rId89"/>
              </p:custDataLst>
            </p:nvPr>
          </p:nvSpPr>
          <p:spPr bwMode="auto">
            <a:xfrm>
              <a:off x="7348538" y="5446713"/>
              <a:ext cx="1587"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67" name="Line 171"/>
            <p:cNvSpPr>
              <a:spLocks noChangeShapeType="1"/>
            </p:cNvSpPr>
            <p:nvPr>
              <p:custDataLst>
                <p:tags r:id="rId90"/>
              </p:custDataLst>
            </p:nvPr>
          </p:nvSpPr>
          <p:spPr bwMode="auto">
            <a:xfrm flipV="1">
              <a:off x="7439025" y="5445125"/>
              <a:ext cx="1588"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68" name="Freeform 172"/>
            <p:cNvSpPr>
              <a:spLocks/>
            </p:cNvSpPr>
            <p:nvPr>
              <p:custDataLst>
                <p:tags r:id="rId91"/>
              </p:custDataLst>
            </p:nvPr>
          </p:nvSpPr>
          <p:spPr bwMode="auto">
            <a:xfrm>
              <a:off x="7439025" y="544512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47269" name="Freeform 173"/>
            <p:cNvSpPr>
              <a:spLocks/>
            </p:cNvSpPr>
            <p:nvPr>
              <p:custDataLst>
                <p:tags r:id="rId92"/>
              </p:custDataLst>
            </p:nvPr>
          </p:nvSpPr>
          <p:spPr bwMode="auto">
            <a:xfrm>
              <a:off x="7737475" y="491490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270" name="Freeform 174"/>
            <p:cNvSpPr>
              <a:spLocks/>
            </p:cNvSpPr>
            <p:nvPr>
              <p:custDataLst>
                <p:tags r:id="rId93"/>
              </p:custDataLst>
            </p:nvPr>
          </p:nvSpPr>
          <p:spPr bwMode="auto">
            <a:xfrm>
              <a:off x="7743825" y="4841875"/>
              <a:ext cx="26988"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47271" name="Freeform 175"/>
            <p:cNvSpPr>
              <a:spLocks/>
            </p:cNvSpPr>
            <p:nvPr>
              <p:custDataLst>
                <p:tags r:id="rId94"/>
              </p:custDataLst>
            </p:nvPr>
          </p:nvSpPr>
          <p:spPr bwMode="auto">
            <a:xfrm>
              <a:off x="7720013" y="4818063"/>
              <a:ext cx="17462"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47272" name="Freeform 176"/>
            <p:cNvSpPr>
              <a:spLocks/>
            </p:cNvSpPr>
            <p:nvPr>
              <p:custDataLst>
                <p:tags r:id="rId95"/>
              </p:custDataLst>
            </p:nvPr>
          </p:nvSpPr>
          <p:spPr bwMode="auto">
            <a:xfrm>
              <a:off x="7639050" y="4695825"/>
              <a:ext cx="68263"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73" name="Line 177"/>
            <p:cNvSpPr>
              <a:spLocks noChangeShapeType="1"/>
            </p:cNvSpPr>
            <p:nvPr>
              <p:custDataLst>
                <p:tags r:id="rId96"/>
              </p:custDataLst>
            </p:nvPr>
          </p:nvSpPr>
          <p:spPr bwMode="auto">
            <a:xfrm flipH="1" flipV="1">
              <a:off x="7632700" y="466248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74" name="Freeform 178"/>
            <p:cNvSpPr>
              <a:spLocks/>
            </p:cNvSpPr>
            <p:nvPr>
              <p:custDataLst>
                <p:tags r:id="rId97"/>
              </p:custDataLst>
            </p:nvPr>
          </p:nvSpPr>
          <p:spPr bwMode="auto">
            <a:xfrm>
              <a:off x="7632700" y="464661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275" name="Line 179"/>
            <p:cNvSpPr>
              <a:spLocks noChangeShapeType="1"/>
            </p:cNvSpPr>
            <p:nvPr>
              <p:custDataLst>
                <p:tags r:id="rId98"/>
              </p:custDataLst>
            </p:nvPr>
          </p:nvSpPr>
          <p:spPr bwMode="auto">
            <a:xfrm flipV="1">
              <a:off x="7639050" y="463391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76" name="Freeform 180"/>
            <p:cNvSpPr>
              <a:spLocks/>
            </p:cNvSpPr>
            <p:nvPr>
              <p:custDataLst>
                <p:tags r:id="rId99"/>
              </p:custDataLst>
            </p:nvPr>
          </p:nvSpPr>
          <p:spPr bwMode="auto">
            <a:xfrm>
              <a:off x="7593013" y="4567238"/>
              <a:ext cx="46037"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277" name="Freeform 181"/>
            <p:cNvSpPr>
              <a:spLocks/>
            </p:cNvSpPr>
            <p:nvPr>
              <p:custDataLst>
                <p:tags r:id="rId100"/>
              </p:custDataLst>
            </p:nvPr>
          </p:nvSpPr>
          <p:spPr bwMode="auto">
            <a:xfrm>
              <a:off x="7607300" y="4510088"/>
              <a:ext cx="1588"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47278" name="Freeform 182"/>
            <p:cNvSpPr>
              <a:spLocks/>
            </p:cNvSpPr>
            <p:nvPr>
              <p:custDataLst>
                <p:tags r:id="rId101"/>
              </p:custDataLst>
            </p:nvPr>
          </p:nvSpPr>
          <p:spPr bwMode="auto">
            <a:xfrm>
              <a:off x="7613650" y="4503738"/>
              <a:ext cx="7938"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47279" name="Freeform 183"/>
            <p:cNvSpPr>
              <a:spLocks/>
            </p:cNvSpPr>
            <p:nvPr>
              <p:custDataLst>
                <p:tags r:id="rId102"/>
              </p:custDataLst>
            </p:nvPr>
          </p:nvSpPr>
          <p:spPr bwMode="auto">
            <a:xfrm>
              <a:off x="7629525" y="4484688"/>
              <a:ext cx="1588"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47280" name="Line 184"/>
            <p:cNvSpPr>
              <a:spLocks noChangeShapeType="1"/>
            </p:cNvSpPr>
            <p:nvPr>
              <p:custDataLst>
                <p:tags r:id="rId103"/>
              </p:custDataLst>
            </p:nvPr>
          </p:nvSpPr>
          <p:spPr bwMode="auto">
            <a:xfrm flipV="1">
              <a:off x="7629525" y="4503738"/>
              <a:ext cx="1588"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281" name="Freeform 185"/>
            <p:cNvSpPr>
              <a:spLocks/>
            </p:cNvSpPr>
            <p:nvPr>
              <p:custDataLst>
                <p:tags r:id="rId104"/>
              </p:custDataLst>
            </p:nvPr>
          </p:nvSpPr>
          <p:spPr bwMode="auto">
            <a:xfrm>
              <a:off x="7613650" y="4487863"/>
              <a:ext cx="1588"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82" name="Freeform 186"/>
            <p:cNvSpPr>
              <a:spLocks/>
            </p:cNvSpPr>
            <p:nvPr>
              <p:custDataLst>
                <p:tags r:id="rId105"/>
              </p:custDataLst>
            </p:nvPr>
          </p:nvSpPr>
          <p:spPr bwMode="auto">
            <a:xfrm>
              <a:off x="7334250" y="5476875"/>
              <a:ext cx="96838"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47283" name="Freeform 187"/>
            <p:cNvSpPr>
              <a:spLocks/>
            </p:cNvSpPr>
            <p:nvPr>
              <p:custDataLst>
                <p:tags r:id="rId106"/>
              </p:custDataLst>
            </p:nvPr>
          </p:nvSpPr>
          <p:spPr bwMode="auto">
            <a:xfrm>
              <a:off x="7472363" y="469582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47284" name="Freeform 188"/>
            <p:cNvSpPr>
              <a:spLocks/>
            </p:cNvSpPr>
            <p:nvPr>
              <p:custDataLst>
                <p:tags r:id="rId107"/>
              </p:custDataLst>
            </p:nvPr>
          </p:nvSpPr>
          <p:spPr bwMode="auto">
            <a:xfrm>
              <a:off x="7405688" y="461803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47285" name="Freeform 189"/>
            <p:cNvSpPr>
              <a:spLocks/>
            </p:cNvSpPr>
            <p:nvPr>
              <p:custDataLst>
                <p:tags r:id="rId108"/>
              </p:custDataLst>
            </p:nvPr>
          </p:nvSpPr>
          <p:spPr bwMode="auto">
            <a:xfrm>
              <a:off x="7421563" y="453072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47286" name="Freeform 190"/>
            <p:cNvSpPr>
              <a:spLocks/>
            </p:cNvSpPr>
            <p:nvPr>
              <p:custDataLst>
                <p:tags r:id="rId109"/>
              </p:custDataLst>
            </p:nvPr>
          </p:nvSpPr>
          <p:spPr bwMode="auto">
            <a:xfrm>
              <a:off x="7261225" y="4533900"/>
              <a:ext cx="36513"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47287" name="Freeform 191"/>
            <p:cNvSpPr>
              <a:spLocks/>
            </p:cNvSpPr>
            <p:nvPr>
              <p:custDataLst>
                <p:tags r:id="rId110"/>
              </p:custDataLst>
            </p:nvPr>
          </p:nvSpPr>
          <p:spPr bwMode="auto">
            <a:xfrm>
              <a:off x="7505700" y="4997450"/>
              <a:ext cx="1588"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88" name="Freeform 192"/>
            <p:cNvSpPr>
              <a:spLocks/>
            </p:cNvSpPr>
            <p:nvPr>
              <p:custDataLst>
                <p:tags r:id="rId111"/>
              </p:custDataLst>
            </p:nvPr>
          </p:nvSpPr>
          <p:spPr bwMode="auto">
            <a:xfrm>
              <a:off x="6742113" y="450373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47289" name="Freeform 193"/>
            <p:cNvSpPr>
              <a:spLocks/>
            </p:cNvSpPr>
            <p:nvPr>
              <p:custDataLst>
                <p:tags r:id="rId112"/>
              </p:custDataLst>
            </p:nvPr>
          </p:nvSpPr>
          <p:spPr bwMode="auto">
            <a:xfrm>
              <a:off x="1228725" y="3170238"/>
              <a:ext cx="668338"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90" name="Freeform 194"/>
            <p:cNvSpPr>
              <a:spLocks/>
            </p:cNvSpPr>
            <p:nvPr>
              <p:custDataLst>
                <p:tags r:id="rId113"/>
              </p:custDataLst>
            </p:nvPr>
          </p:nvSpPr>
          <p:spPr bwMode="auto">
            <a:xfrm>
              <a:off x="2503488" y="4810125"/>
              <a:ext cx="211137"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91" name="Freeform 195"/>
            <p:cNvSpPr>
              <a:spLocks/>
            </p:cNvSpPr>
            <p:nvPr>
              <p:custDataLst>
                <p:tags r:id="rId114"/>
              </p:custDataLst>
            </p:nvPr>
          </p:nvSpPr>
          <p:spPr bwMode="auto">
            <a:xfrm>
              <a:off x="2673350" y="401478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292" name="Freeform 196"/>
            <p:cNvSpPr>
              <a:spLocks/>
            </p:cNvSpPr>
            <p:nvPr>
              <p:custDataLst>
                <p:tags r:id="rId115"/>
              </p:custDataLst>
            </p:nvPr>
          </p:nvSpPr>
          <p:spPr bwMode="auto">
            <a:xfrm>
              <a:off x="2187575" y="357346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47293" name="Freeform 197"/>
            <p:cNvSpPr>
              <a:spLocks/>
            </p:cNvSpPr>
            <p:nvPr>
              <p:custDataLst>
                <p:tags r:id="rId116"/>
              </p:custDataLst>
            </p:nvPr>
          </p:nvSpPr>
          <p:spPr bwMode="auto">
            <a:xfrm>
              <a:off x="2554288" y="5927725"/>
              <a:ext cx="23812"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47294" name="Freeform 198"/>
            <p:cNvSpPr>
              <a:spLocks/>
            </p:cNvSpPr>
            <p:nvPr>
              <p:custDataLst>
                <p:tags r:id="rId117"/>
              </p:custDataLst>
            </p:nvPr>
          </p:nvSpPr>
          <p:spPr bwMode="auto">
            <a:xfrm>
              <a:off x="2519363" y="590708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95" name="Freeform 199"/>
            <p:cNvSpPr>
              <a:spLocks/>
            </p:cNvSpPr>
            <p:nvPr>
              <p:custDataLst>
                <p:tags r:id="rId118"/>
              </p:custDataLst>
            </p:nvPr>
          </p:nvSpPr>
          <p:spPr bwMode="auto">
            <a:xfrm>
              <a:off x="2519363" y="588645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296" name="Freeform 200"/>
            <p:cNvSpPr>
              <a:spLocks/>
            </p:cNvSpPr>
            <p:nvPr>
              <p:custDataLst>
                <p:tags r:id="rId119"/>
              </p:custDataLst>
            </p:nvPr>
          </p:nvSpPr>
          <p:spPr bwMode="auto">
            <a:xfrm>
              <a:off x="2489200" y="588010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47297" name="Freeform 201"/>
            <p:cNvSpPr>
              <a:spLocks/>
            </p:cNvSpPr>
            <p:nvPr>
              <p:custDataLst>
                <p:tags r:id="rId120"/>
              </p:custDataLst>
            </p:nvPr>
          </p:nvSpPr>
          <p:spPr bwMode="auto">
            <a:xfrm>
              <a:off x="2463800" y="587057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47298" name="Freeform 202"/>
            <p:cNvSpPr>
              <a:spLocks/>
            </p:cNvSpPr>
            <p:nvPr>
              <p:custDataLst>
                <p:tags r:id="rId121"/>
              </p:custDataLst>
            </p:nvPr>
          </p:nvSpPr>
          <p:spPr bwMode="auto">
            <a:xfrm>
              <a:off x="2439988" y="5857875"/>
              <a:ext cx="33337"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47299" name="Freeform 203"/>
            <p:cNvSpPr>
              <a:spLocks/>
            </p:cNvSpPr>
            <p:nvPr>
              <p:custDataLst>
                <p:tags r:id="rId122"/>
              </p:custDataLst>
            </p:nvPr>
          </p:nvSpPr>
          <p:spPr bwMode="auto">
            <a:xfrm>
              <a:off x="2433638" y="5838825"/>
              <a:ext cx="30162"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47300" name="Freeform 204"/>
            <p:cNvSpPr>
              <a:spLocks/>
            </p:cNvSpPr>
            <p:nvPr>
              <p:custDataLst>
                <p:tags r:id="rId123"/>
              </p:custDataLst>
            </p:nvPr>
          </p:nvSpPr>
          <p:spPr bwMode="auto">
            <a:xfrm>
              <a:off x="2333625" y="552926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301" name="Freeform 205"/>
            <p:cNvSpPr>
              <a:spLocks/>
            </p:cNvSpPr>
            <p:nvPr>
              <p:custDataLst>
                <p:tags r:id="rId124"/>
              </p:custDataLst>
            </p:nvPr>
          </p:nvSpPr>
          <p:spPr bwMode="auto">
            <a:xfrm>
              <a:off x="2363788" y="5624513"/>
              <a:ext cx="17462"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47302" name="Freeform 206"/>
            <p:cNvSpPr>
              <a:spLocks/>
            </p:cNvSpPr>
            <p:nvPr>
              <p:custDataLst>
                <p:tags r:id="rId125"/>
              </p:custDataLst>
            </p:nvPr>
          </p:nvSpPr>
          <p:spPr bwMode="auto">
            <a:xfrm>
              <a:off x="2368550" y="5646738"/>
              <a:ext cx="7938"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303" name="Freeform 207"/>
            <p:cNvSpPr>
              <a:spLocks/>
            </p:cNvSpPr>
            <p:nvPr>
              <p:custDataLst>
                <p:tags r:id="rId126"/>
              </p:custDataLst>
            </p:nvPr>
          </p:nvSpPr>
          <p:spPr bwMode="auto">
            <a:xfrm>
              <a:off x="2382838" y="5708650"/>
              <a:ext cx="17462"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304" name="Freeform 208"/>
            <p:cNvSpPr>
              <a:spLocks/>
            </p:cNvSpPr>
            <p:nvPr>
              <p:custDataLst>
                <p:tags r:id="rId127"/>
              </p:custDataLst>
            </p:nvPr>
          </p:nvSpPr>
          <p:spPr bwMode="auto">
            <a:xfrm>
              <a:off x="2370138" y="5721350"/>
              <a:ext cx="26987"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47305" name="Freeform 209"/>
            <p:cNvSpPr>
              <a:spLocks/>
            </p:cNvSpPr>
            <p:nvPr>
              <p:custDataLst>
                <p:tags r:id="rId128"/>
              </p:custDataLst>
            </p:nvPr>
          </p:nvSpPr>
          <p:spPr bwMode="auto">
            <a:xfrm>
              <a:off x="2400300" y="5754688"/>
              <a:ext cx="11113"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47306" name="Freeform 210"/>
            <p:cNvSpPr>
              <a:spLocks/>
            </p:cNvSpPr>
            <p:nvPr>
              <p:custDataLst>
                <p:tags r:id="rId129"/>
              </p:custDataLst>
            </p:nvPr>
          </p:nvSpPr>
          <p:spPr bwMode="auto">
            <a:xfrm>
              <a:off x="2397125" y="5788025"/>
              <a:ext cx="20638"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47307" name="Freeform 211"/>
            <p:cNvSpPr>
              <a:spLocks/>
            </p:cNvSpPr>
            <p:nvPr>
              <p:custDataLst>
                <p:tags r:id="rId130"/>
              </p:custDataLst>
            </p:nvPr>
          </p:nvSpPr>
          <p:spPr bwMode="auto">
            <a:xfrm>
              <a:off x="2420938" y="5802313"/>
              <a:ext cx="17462"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47308" name="Freeform 212"/>
            <p:cNvSpPr>
              <a:spLocks/>
            </p:cNvSpPr>
            <p:nvPr>
              <p:custDataLst>
                <p:tags r:id="rId131"/>
              </p:custDataLst>
            </p:nvPr>
          </p:nvSpPr>
          <p:spPr bwMode="auto">
            <a:xfrm>
              <a:off x="2422525" y="583088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309" name="Freeform 213"/>
            <p:cNvSpPr>
              <a:spLocks/>
            </p:cNvSpPr>
            <p:nvPr>
              <p:custDataLst>
                <p:tags r:id="rId132"/>
              </p:custDataLst>
            </p:nvPr>
          </p:nvSpPr>
          <p:spPr bwMode="auto">
            <a:xfrm>
              <a:off x="2497138" y="590073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47310" name="Freeform 214"/>
            <p:cNvSpPr>
              <a:spLocks/>
            </p:cNvSpPr>
            <p:nvPr>
              <p:custDataLst>
                <p:tags r:id="rId133"/>
              </p:custDataLst>
            </p:nvPr>
          </p:nvSpPr>
          <p:spPr bwMode="auto">
            <a:xfrm>
              <a:off x="2535238" y="584200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47311" name="Freeform 215"/>
            <p:cNvSpPr>
              <a:spLocks/>
            </p:cNvSpPr>
            <p:nvPr>
              <p:custDataLst>
                <p:tags r:id="rId134"/>
              </p:custDataLst>
            </p:nvPr>
          </p:nvSpPr>
          <p:spPr bwMode="auto">
            <a:xfrm>
              <a:off x="2087563" y="3608388"/>
              <a:ext cx="52387"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312" name="Freeform 216"/>
            <p:cNvSpPr>
              <a:spLocks/>
            </p:cNvSpPr>
            <p:nvPr>
              <p:custDataLst>
                <p:tags r:id="rId135"/>
              </p:custDataLst>
            </p:nvPr>
          </p:nvSpPr>
          <p:spPr bwMode="auto">
            <a:xfrm>
              <a:off x="1944688" y="347027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47313" name="Freeform 217"/>
            <p:cNvSpPr>
              <a:spLocks/>
            </p:cNvSpPr>
            <p:nvPr>
              <p:custDataLst>
                <p:tags r:id="rId136"/>
              </p:custDataLst>
            </p:nvPr>
          </p:nvSpPr>
          <p:spPr bwMode="auto">
            <a:xfrm>
              <a:off x="2249488" y="357346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47314" name="Freeform 218"/>
            <p:cNvSpPr>
              <a:spLocks/>
            </p:cNvSpPr>
            <p:nvPr>
              <p:custDataLst>
                <p:tags r:id="rId137"/>
              </p:custDataLst>
            </p:nvPr>
          </p:nvSpPr>
          <p:spPr bwMode="auto">
            <a:xfrm>
              <a:off x="1817688" y="3633788"/>
              <a:ext cx="33337"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15" name="Freeform 219"/>
            <p:cNvSpPr>
              <a:spLocks/>
            </p:cNvSpPr>
            <p:nvPr>
              <p:custDataLst>
                <p:tags r:id="rId138"/>
              </p:custDataLst>
            </p:nvPr>
          </p:nvSpPr>
          <p:spPr bwMode="auto">
            <a:xfrm>
              <a:off x="1738313" y="3633788"/>
              <a:ext cx="93662"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16" name="Freeform 220"/>
            <p:cNvSpPr>
              <a:spLocks/>
            </p:cNvSpPr>
            <p:nvPr>
              <p:custDataLst>
                <p:tags r:id="rId139"/>
              </p:custDataLst>
            </p:nvPr>
          </p:nvSpPr>
          <p:spPr bwMode="auto">
            <a:xfrm>
              <a:off x="1785938" y="3744913"/>
              <a:ext cx="71437"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17" name="Freeform 221"/>
            <p:cNvSpPr>
              <a:spLocks/>
            </p:cNvSpPr>
            <p:nvPr>
              <p:custDataLst>
                <p:tags r:id="rId140"/>
              </p:custDataLst>
            </p:nvPr>
          </p:nvSpPr>
          <p:spPr bwMode="auto">
            <a:xfrm>
              <a:off x="1817688" y="370681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18" name="Freeform 222"/>
            <p:cNvSpPr>
              <a:spLocks/>
            </p:cNvSpPr>
            <p:nvPr>
              <p:custDataLst>
                <p:tags r:id="rId141"/>
              </p:custDataLst>
            </p:nvPr>
          </p:nvSpPr>
          <p:spPr bwMode="auto">
            <a:xfrm>
              <a:off x="1835150" y="3736975"/>
              <a:ext cx="125413"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19" name="Freeform 223"/>
            <p:cNvSpPr>
              <a:spLocks/>
            </p:cNvSpPr>
            <p:nvPr>
              <p:custDataLst>
                <p:tags r:id="rId142"/>
              </p:custDataLst>
            </p:nvPr>
          </p:nvSpPr>
          <p:spPr bwMode="auto">
            <a:xfrm>
              <a:off x="1885950" y="3849688"/>
              <a:ext cx="84138"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0" name="Freeform 224"/>
            <p:cNvSpPr>
              <a:spLocks/>
            </p:cNvSpPr>
            <p:nvPr>
              <p:custDataLst>
                <p:tags r:id="rId143"/>
              </p:custDataLst>
            </p:nvPr>
          </p:nvSpPr>
          <p:spPr bwMode="auto">
            <a:xfrm>
              <a:off x="1966913" y="390366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1" name="Freeform 225"/>
            <p:cNvSpPr>
              <a:spLocks/>
            </p:cNvSpPr>
            <p:nvPr>
              <p:custDataLst>
                <p:tags r:id="rId144"/>
              </p:custDataLst>
            </p:nvPr>
          </p:nvSpPr>
          <p:spPr bwMode="auto">
            <a:xfrm>
              <a:off x="2647950" y="515778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2" name="Freeform 226"/>
            <p:cNvSpPr>
              <a:spLocks/>
            </p:cNvSpPr>
            <p:nvPr>
              <p:custDataLst>
                <p:tags r:id="rId145"/>
              </p:custDataLst>
            </p:nvPr>
          </p:nvSpPr>
          <p:spPr bwMode="auto">
            <a:xfrm>
              <a:off x="4194175" y="1774825"/>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3" name="Freeform 227"/>
            <p:cNvSpPr>
              <a:spLocks/>
            </p:cNvSpPr>
            <p:nvPr>
              <p:custDataLst>
                <p:tags r:id="rId146"/>
              </p:custDataLst>
            </p:nvPr>
          </p:nvSpPr>
          <p:spPr bwMode="auto">
            <a:xfrm>
              <a:off x="4121150" y="2005013"/>
              <a:ext cx="449263"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4" name="Freeform 228"/>
            <p:cNvSpPr>
              <a:spLocks/>
            </p:cNvSpPr>
            <p:nvPr>
              <p:custDataLst>
                <p:tags r:id="rId147"/>
              </p:custDataLst>
            </p:nvPr>
          </p:nvSpPr>
          <p:spPr bwMode="auto">
            <a:xfrm>
              <a:off x="4460875" y="2846388"/>
              <a:ext cx="49213"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47325" name="Freeform 229"/>
            <p:cNvSpPr>
              <a:spLocks/>
            </p:cNvSpPr>
            <p:nvPr>
              <p:custDataLst>
                <p:tags r:id="rId148"/>
              </p:custDataLst>
            </p:nvPr>
          </p:nvSpPr>
          <p:spPr bwMode="auto">
            <a:xfrm>
              <a:off x="4168775" y="2686050"/>
              <a:ext cx="84138"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6" name="Freeform 230"/>
            <p:cNvSpPr>
              <a:spLocks/>
            </p:cNvSpPr>
            <p:nvPr>
              <p:custDataLst>
                <p:tags r:id="rId149"/>
              </p:custDataLst>
            </p:nvPr>
          </p:nvSpPr>
          <p:spPr bwMode="auto">
            <a:xfrm>
              <a:off x="4106863" y="2505075"/>
              <a:ext cx="84137"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7" name="Freeform 231"/>
            <p:cNvSpPr>
              <a:spLocks/>
            </p:cNvSpPr>
            <p:nvPr>
              <p:custDataLst>
                <p:tags r:id="rId150"/>
              </p:custDataLst>
            </p:nvPr>
          </p:nvSpPr>
          <p:spPr bwMode="auto">
            <a:xfrm>
              <a:off x="4087813" y="2568575"/>
              <a:ext cx="84137"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28" name="Freeform 232"/>
            <p:cNvSpPr>
              <a:spLocks/>
            </p:cNvSpPr>
            <p:nvPr>
              <p:custDataLst>
                <p:tags r:id="rId151"/>
              </p:custDataLst>
            </p:nvPr>
          </p:nvSpPr>
          <p:spPr bwMode="auto">
            <a:xfrm>
              <a:off x="4848225" y="3122613"/>
              <a:ext cx="33338"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99CC00"/>
            </a:solidFill>
            <a:ln w="9525" cmpd="sng">
              <a:solidFill>
                <a:srgbClr val="FFFFFF"/>
              </a:solidFill>
              <a:prstDash val="solid"/>
              <a:round/>
              <a:headEnd/>
              <a:tailEnd/>
            </a:ln>
          </p:spPr>
          <p:txBody>
            <a:bodyPr/>
            <a:lstStyle/>
            <a:p>
              <a:endParaRPr lang="en-GB"/>
            </a:p>
          </p:txBody>
        </p:sp>
        <p:sp>
          <p:nvSpPr>
            <p:cNvPr id="47329" name="Freeform 233"/>
            <p:cNvSpPr>
              <a:spLocks/>
            </p:cNvSpPr>
            <p:nvPr>
              <p:custDataLst>
                <p:tags r:id="rId152"/>
              </p:custDataLst>
            </p:nvPr>
          </p:nvSpPr>
          <p:spPr bwMode="auto">
            <a:xfrm>
              <a:off x="4797425" y="3175000"/>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47330" name="Freeform 234"/>
            <p:cNvSpPr>
              <a:spLocks/>
            </p:cNvSpPr>
            <p:nvPr>
              <p:custDataLst>
                <p:tags r:id="rId153"/>
              </p:custDataLst>
            </p:nvPr>
          </p:nvSpPr>
          <p:spPr bwMode="auto">
            <a:xfrm>
              <a:off x="3798888" y="2428875"/>
              <a:ext cx="96837"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31" name="Freeform 235"/>
            <p:cNvSpPr>
              <a:spLocks/>
            </p:cNvSpPr>
            <p:nvPr>
              <p:custDataLst>
                <p:tags r:id="rId154"/>
              </p:custDataLst>
            </p:nvPr>
          </p:nvSpPr>
          <p:spPr bwMode="auto">
            <a:xfrm>
              <a:off x="3611563" y="3340100"/>
              <a:ext cx="306387"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47332" name="Freeform 236"/>
            <p:cNvSpPr>
              <a:spLocks/>
            </p:cNvSpPr>
            <p:nvPr>
              <p:custDataLst>
                <p:tags r:id="rId155"/>
              </p:custDataLst>
            </p:nvPr>
          </p:nvSpPr>
          <p:spPr bwMode="auto">
            <a:xfrm>
              <a:off x="3727450" y="3400425"/>
              <a:ext cx="414338"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47333" name="Freeform 237"/>
            <p:cNvSpPr>
              <a:spLocks/>
            </p:cNvSpPr>
            <p:nvPr>
              <p:custDataLst>
                <p:tags r:id="rId156"/>
              </p:custDataLst>
            </p:nvPr>
          </p:nvSpPr>
          <p:spPr bwMode="auto">
            <a:xfrm>
              <a:off x="3825875" y="3006725"/>
              <a:ext cx="493713"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47334" name="Freeform 238"/>
            <p:cNvSpPr>
              <a:spLocks/>
            </p:cNvSpPr>
            <p:nvPr>
              <p:custDataLst>
                <p:tags r:id="rId157"/>
              </p:custDataLst>
            </p:nvPr>
          </p:nvSpPr>
          <p:spPr bwMode="auto">
            <a:xfrm>
              <a:off x="4262438" y="314166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47335" name="Freeform 239"/>
            <p:cNvSpPr>
              <a:spLocks/>
            </p:cNvSpPr>
            <p:nvPr>
              <p:custDataLst>
                <p:tags r:id="rId158"/>
              </p:custDataLst>
            </p:nvPr>
          </p:nvSpPr>
          <p:spPr bwMode="auto">
            <a:xfrm>
              <a:off x="4214813" y="3006725"/>
              <a:ext cx="93662"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47336" name="Freeform 240"/>
            <p:cNvSpPr>
              <a:spLocks/>
            </p:cNvSpPr>
            <p:nvPr>
              <p:custDataLst>
                <p:tags r:id="rId159"/>
              </p:custDataLst>
            </p:nvPr>
          </p:nvSpPr>
          <p:spPr bwMode="auto">
            <a:xfrm>
              <a:off x="3597275" y="331787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47337" name="Freeform 241"/>
            <p:cNvSpPr>
              <a:spLocks/>
            </p:cNvSpPr>
            <p:nvPr>
              <p:custDataLst>
                <p:tags r:id="rId160"/>
              </p:custDataLst>
            </p:nvPr>
          </p:nvSpPr>
          <p:spPr bwMode="auto">
            <a:xfrm>
              <a:off x="3565525" y="212566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47338" name="Freeform 242"/>
            <p:cNvSpPr>
              <a:spLocks/>
            </p:cNvSpPr>
            <p:nvPr>
              <p:custDataLst>
                <p:tags r:id="rId161"/>
              </p:custDataLst>
            </p:nvPr>
          </p:nvSpPr>
          <p:spPr bwMode="auto">
            <a:xfrm>
              <a:off x="4357688" y="2389188"/>
              <a:ext cx="14287"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39" name="Freeform 243"/>
            <p:cNvSpPr>
              <a:spLocks/>
            </p:cNvSpPr>
            <p:nvPr>
              <p:custDataLst>
                <p:tags r:id="rId162"/>
              </p:custDataLst>
            </p:nvPr>
          </p:nvSpPr>
          <p:spPr bwMode="auto">
            <a:xfrm>
              <a:off x="4244975" y="205263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40" name="Freeform 244"/>
            <p:cNvSpPr>
              <a:spLocks/>
            </p:cNvSpPr>
            <p:nvPr>
              <p:custDataLst>
                <p:tags r:id="rId163"/>
              </p:custDataLst>
            </p:nvPr>
          </p:nvSpPr>
          <p:spPr bwMode="auto">
            <a:xfrm>
              <a:off x="4383088" y="2366963"/>
              <a:ext cx="26987"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41" name="Freeform 245"/>
            <p:cNvSpPr>
              <a:spLocks/>
            </p:cNvSpPr>
            <p:nvPr>
              <p:custDataLst>
                <p:tags r:id="rId164"/>
              </p:custDataLst>
            </p:nvPr>
          </p:nvSpPr>
          <p:spPr bwMode="auto">
            <a:xfrm>
              <a:off x="3827463" y="252888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42" name="Freeform 246"/>
            <p:cNvSpPr>
              <a:spLocks/>
            </p:cNvSpPr>
            <p:nvPr>
              <p:custDataLst>
                <p:tags r:id="rId165"/>
              </p:custDataLst>
            </p:nvPr>
          </p:nvSpPr>
          <p:spPr bwMode="auto">
            <a:xfrm>
              <a:off x="4779963" y="3057525"/>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47343" name="Freeform 247"/>
            <p:cNvSpPr>
              <a:spLocks/>
            </p:cNvSpPr>
            <p:nvPr>
              <p:custDataLst>
                <p:tags r:id="rId166"/>
              </p:custDataLst>
            </p:nvPr>
          </p:nvSpPr>
          <p:spPr bwMode="auto">
            <a:xfrm>
              <a:off x="4387850" y="3849688"/>
              <a:ext cx="325438"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40" name="Freeform 248"/>
            <p:cNvSpPr>
              <a:spLocks/>
            </p:cNvSpPr>
            <p:nvPr>
              <p:custDataLst>
                <p:tags r:id="rId167"/>
              </p:custDataLst>
            </p:nvPr>
          </p:nvSpPr>
          <p:spPr bwMode="auto">
            <a:xfrm>
              <a:off x="4324350" y="4017963"/>
              <a:ext cx="500063" cy="552450"/>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45" name="Freeform 249"/>
            <p:cNvSpPr>
              <a:spLocks/>
            </p:cNvSpPr>
            <p:nvPr>
              <p:custDataLst>
                <p:tags r:id="rId168"/>
              </p:custDataLst>
            </p:nvPr>
          </p:nvSpPr>
          <p:spPr bwMode="auto">
            <a:xfrm>
              <a:off x="4260850" y="4117975"/>
              <a:ext cx="55563"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47346" name="Freeform 250"/>
            <p:cNvSpPr>
              <a:spLocks/>
            </p:cNvSpPr>
            <p:nvPr>
              <p:custDataLst>
                <p:tags r:id="rId169"/>
              </p:custDataLst>
            </p:nvPr>
          </p:nvSpPr>
          <p:spPr bwMode="auto">
            <a:xfrm>
              <a:off x="4243388" y="411797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43" name="Freeform 251"/>
            <p:cNvSpPr>
              <a:spLocks/>
            </p:cNvSpPr>
            <p:nvPr>
              <p:custDataLst>
                <p:tags r:id="rId170"/>
              </p:custDataLst>
            </p:nvPr>
          </p:nvSpPr>
          <p:spPr bwMode="auto">
            <a:xfrm>
              <a:off x="4776788" y="4522788"/>
              <a:ext cx="260350" cy="52070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48" name="Freeform 252"/>
            <p:cNvSpPr>
              <a:spLocks/>
            </p:cNvSpPr>
            <p:nvPr>
              <p:custDataLst>
                <p:tags r:id="rId171"/>
              </p:custDataLst>
            </p:nvPr>
          </p:nvSpPr>
          <p:spPr bwMode="auto">
            <a:xfrm>
              <a:off x="4511675" y="476250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47349" name="Freeform 253"/>
            <p:cNvSpPr>
              <a:spLocks/>
            </p:cNvSpPr>
            <p:nvPr>
              <p:custDataLst>
                <p:tags r:id="rId172"/>
              </p:custDataLst>
            </p:nvPr>
          </p:nvSpPr>
          <p:spPr bwMode="auto">
            <a:xfrm>
              <a:off x="5084763" y="456406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47350" name="Freeform 254"/>
            <p:cNvSpPr>
              <a:spLocks/>
            </p:cNvSpPr>
            <p:nvPr>
              <p:custDataLst>
                <p:tags r:id="rId173"/>
              </p:custDataLst>
            </p:nvPr>
          </p:nvSpPr>
          <p:spPr bwMode="auto">
            <a:xfrm>
              <a:off x="4760913" y="4262438"/>
              <a:ext cx="36512"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47351" name="Freeform 255"/>
            <p:cNvSpPr>
              <a:spLocks/>
            </p:cNvSpPr>
            <p:nvPr>
              <p:custDataLst>
                <p:tags r:id="rId174"/>
              </p:custDataLst>
            </p:nvPr>
          </p:nvSpPr>
          <p:spPr bwMode="auto">
            <a:xfrm>
              <a:off x="4749800" y="4222750"/>
              <a:ext cx="55563"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99CCFF"/>
            </a:solidFill>
            <a:ln w="9525" cmpd="sng">
              <a:solidFill>
                <a:srgbClr val="FFFFFF"/>
              </a:solidFill>
              <a:prstDash val="solid"/>
              <a:round/>
              <a:headEnd/>
              <a:tailEnd/>
            </a:ln>
          </p:spPr>
          <p:txBody>
            <a:bodyPr/>
            <a:lstStyle/>
            <a:p>
              <a:endParaRPr lang="en-GB"/>
            </a:p>
          </p:txBody>
        </p:sp>
        <p:sp>
          <p:nvSpPr>
            <p:cNvPr id="47352" name="Freeform 256"/>
            <p:cNvSpPr>
              <a:spLocks/>
            </p:cNvSpPr>
            <p:nvPr>
              <p:custDataLst>
                <p:tags r:id="rId175"/>
              </p:custDataLst>
            </p:nvPr>
          </p:nvSpPr>
          <p:spPr bwMode="auto">
            <a:xfrm>
              <a:off x="5059363" y="2922588"/>
              <a:ext cx="503237"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49" name="Freeform 257"/>
            <p:cNvSpPr>
              <a:spLocks/>
            </p:cNvSpPr>
            <p:nvPr>
              <p:custDataLst>
                <p:tags r:id="rId176"/>
              </p:custDataLst>
            </p:nvPr>
          </p:nvSpPr>
          <p:spPr bwMode="auto">
            <a:xfrm>
              <a:off x="5083175" y="3579813"/>
              <a:ext cx="247650" cy="228600"/>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54" name="Freeform 258"/>
            <p:cNvSpPr>
              <a:spLocks/>
            </p:cNvSpPr>
            <p:nvPr>
              <p:custDataLst>
                <p:tags r:id="rId177"/>
              </p:custDataLst>
            </p:nvPr>
          </p:nvSpPr>
          <p:spPr bwMode="auto">
            <a:xfrm>
              <a:off x="5278438" y="335438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55" name="Freeform 259"/>
            <p:cNvSpPr>
              <a:spLocks/>
            </p:cNvSpPr>
            <p:nvPr>
              <p:custDataLst>
                <p:tags r:id="rId178"/>
              </p:custDataLst>
            </p:nvPr>
          </p:nvSpPr>
          <p:spPr bwMode="auto">
            <a:xfrm>
              <a:off x="4965700" y="300672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52" name="Freeform 260"/>
            <p:cNvSpPr>
              <a:spLocks/>
            </p:cNvSpPr>
            <p:nvPr>
              <p:custDataLst>
                <p:tags r:id="rId179"/>
              </p:custDataLst>
            </p:nvPr>
          </p:nvSpPr>
          <p:spPr bwMode="auto">
            <a:xfrm>
              <a:off x="5465763" y="2967038"/>
              <a:ext cx="331787" cy="290512"/>
            </a:xfrm>
            <a:custGeom>
              <a:avLst/>
              <a:gdLst>
                <a:gd name="T0" fmla="*/ 11692921 w 764"/>
                <a:gd name="T1" fmla="*/ 53703553 h 555"/>
                <a:gd name="T2" fmla="*/ 17539599 w 764"/>
                <a:gd name="T3" fmla="*/ 52059406 h 555"/>
                <a:gd name="T4" fmla="*/ 24140617 w 764"/>
                <a:gd name="T5" fmla="*/ 49867211 h 555"/>
                <a:gd name="T6" fmla="*/ 33004655 w 764"/>
                <a:gd name="T7" fmla="*/ 41373239 h 555"/>
                <a:gd name="T8" fmla="*/ 36587878 w 764"/>
                <a:gd name="T9" fmla="*/ 34523413 h 555"/>
                <a:gd name="T10" fmla="*/ 37530695 w 764"/>
                <a:gd name="T11" fmla="*/ 24111532 h 555"/>
                <a:gd name="T12" fmla="*/ 39228285 w 764"/>
                <a:gd name="T13" fmla="*/ 18905853 h 555"/>
                <a:gd name="T14" fmla="*/ 45263440 w 764"/>
                <a:gd name="T15" fmla="*/ 16439895 h 555"/>
                <a:gd name="T16" fmla="*/ 55447681 w 764"/>
                <a:gd name="T17" fmla="*/ 16987944 h 555"/>
                <a:gd name="T18" fmla="*/ 62048264 w 764"/>
                <a:gd name="T19" fmla="*/ 19453902 h 555"/>
                <a:gd name="T20" fmla="*/ 68271895 w 764"/>
                <a:gd name="T21" fmla="*/ 24659581 h 555"/>
                <a:gd name="T22" fmla="*/ 72798369 w 764"/>
                <a:gd name="T23" fmla="*/ 25481916 h 555"/>
                <a:gd name="T24" fmla="*/ 79022000 w 764"/>
                <a:gd name="T25" fmla="*/ 23015958 h 555"/>
                <a:gd name="T26" fmla="*/ 86754745 w 764"/>
                <a:gd name="T27" fmla="*/ 16713658 h 555"/>
                <a:gd name="T28" fmla="*/ 90337969 w 764"/>
                <a:gd name="T29" fmla="*/ 9042021 h 555"/>
                <a:gd name="T30" fmla="*/ 95807259 w 764"/>
                <a:gd name="T31" fmla="*/ 1096098 h 555"/>
                <a:gd name="T32" fmla="*/ 99956346 w 764"/>
                <a:gd name="T33" fmla="*/ 5205679 h 555"/>
                <a:gd name="T34" fmla="*/ 103728481 w 764"/>
                <a:gd name="T35" fmla="*/ 12329790 h 555"/>
                <a:gd name="T36" fmla="*/ 105803024 w 764"/>
                <a:gd name="T37" fmla="*/ 23837769 h 555"/>
                <a:gd name="T38" fmla="*/ 107500181 w 764"/>
                <a:gd name="T39" fmla="*/ 27673588 h 555"/>
                <a:gd name="T40" fmla="*/ 111083404 w 764"/>
                <a:gd name="T41" fmla="*/ 28495399 h 555"/>
                <a:gd name="T42" fmla="*/ 117307469 w 764"/>
                <a:gd name="T43" fmla="*/ 20001951 h 555"/>
                <a:gd name="T44" fmla="*/ 140127448 w 764"/>
                <a:gd name="T45" fmla="*/ 18083518 h 555"/>
                <a:gd name="T46" fmla="*/ 143145242 w 764"/>
                <a:gd name="T47" fmla="*/ 23837769 h 555"/>
                <a:gd name="T48" fmla="*/ 128057140 w 764"/>
                <a:gd name="T49" fmla="*/ 27399825 h 555"/>
                <a:gd name="T50" fmla="*/ 114101198 w 764"/>
                <a:gd name="T51" fmla="*/ 30687595 h 555"/>
                <a:gd name="T52" fmla="*/ 108254521 w 764"/>
                <a:gd name="T53" fmla="*/ 35619511 h 555"/>
                <a:gd name="T54" fmla="*/ 107688657 w 764"/>
                <a:gd name="T55" fmla="*/ 40277665 h 555"/>
                <a:gd name="T56" fmla="*/ 109763201 w 764"/>
                <a:gd name="T57" fmla="*/ 44935295 h 555"/>
                <a:gd name="T58" fmla="*/ 113346858 w 764"/>
                <a:gd name="T59" fmla="*/ 49319162 h 555"/>
                <a:gd name="T60" fmla="*/ 113912722 w 764"/>
                <a:gd name="T61" fmla="*/ 53429267 h 555"/>
                <a:gd name="T62" fmla="*/ 112026655 w 764"/>
                <a:gd name="T63" fmla="*/ 58361183 h 555"/>
                <a:gd name="T64" fmla="*/ 108254521 w 764"/>
                <a:gd name="T65" fmla="*/ 64937245 h 555"/>
                <a:gd name="T66" fmla="*/ 106557364 w 764"/>
                <a:gd name="T67" fmla="*/ 69869162 h 555"/>
                <a:gd name="T68" fmla="*/ 102219366 w 764"/>
                <a:gd name="T69" fmla="*/ 73704980 h 555"/>
                <a:gd name="T70" fmla="*/ 97881803 w 764"/>
                <a:gd name="T71" fmla="*/ 84939196 h 555"/>
                <a:gd name="T72" fmla="*/ 95807259 w 764"/>
                <a:gd name="T73" fmla="*/ 99460659 h 555"/>
                <a:gd name="T74" fmla="*/ 93732716 w 764"/>
                <a:gd name="T75" fmla="*/ 116448603 h 555"/>
                <a:gd name="T76" fmla="*/ 89960581 w 764"/>
                <a:gd name="T77" fmla="*/ 112886547 h 555"/>
                <a:gd name="T78" fmla="*/ 86754745 w 764"/>
                <a:gd name="T79" fmla="*/ 111516687 h 555"/>
                <a:gd name="T80" fmla="*/ 82794134 w 764"/>
                <a:gd name="T81" fmla="*/ 114530694 h 555"/>
                <a:gd name="T82" fmla="*/ 77513320 w 764"/>
                <a:gd name="T83" fmla="*/ 120558707 h 555"/>
                <a:gd name="T84" fmla="*/ 74118573 w 764"/>
                <a:gd name="T85" fmla="*/ 121654282 h 555"/>
                <a:gd name="T86" fmla="*/ 70723826 w 764"/>
                <a:gd name="T87" fmla="*/ 126860484 h 555"/>
                <a:gd name="T88" fmla="*/ 68837759 w 764"/>
                <a:gd name="T89" fmla="*/ 140012086 h 555"/>
                <a:gd name="T90" fmla="*/ 66008875 w 764"/>
                <a:gd name="T91" fmla="*/ 143848428 h 555"/>
                <a:gd name="T92" fmla="*/ 50921207 w 764"/>
                <a:gd name="T93" fmla="*/ 149602156 h 555"/>
                <a:gd name="T94" fmla="*/ 36587878 w 764"/>
                <a:gd name="T95" fmla="*/ 151794351 h 555"/>
                <a:gd name="T96" fmla="*/ 21311299 w 764"/>
                <a:gd name="T97" fmla="*/ 148506058 h 555"/>
                <a:gd name="T98" fmla="*/ 17916552 w 764"/>
                <a:gd name="T99" fmla="*/ 141929995 h 555"/>
                <a:gd name="T100" fmla="*/ 21688686 w 764"/>
                <a:gd name="T101" fmla="*/ 133710309 h 555"/>
                <a:gd name="T102" fmla="*/ 23574753 w 764"/>
                <a:gd name="T103" fmla="*/ 126586198 h 555"/>
                <a:gd name="T104" fmla="*/ 23197366 w 764"/>
                <a:gd name="T105" fmla="*/ 121106756 h 555"/>
                <a:gd name="T106" fmla="*/ 20934346 w 764"/>
                <a:gd name="T107" fmla="*/ 118640275 h 555"/>
                <a:gd name="T108" fmla="*/ 13013125 w 764"/>
                <a:gd name="T109" fmla="*/ 118092749 h 555"/>
                <a:gd name="T110" fmla="*/ 9806854 w 764"/>
                <a:gd name="T111" fmla="*/ 115352505 h 555"/>
                <a:gd name="T112" fmla="*/ 6412107 w 764"/>
                <a:gd name="T113" fmla="*/ 105214910 h 555"/>
                <a:gd name="T114" fmla="*/ 3583224 w 764"/>
                <a:gd name="T115" fmla="*/ 84664910 h 555"/>
                <a:gd name="T116" fmla="*/ 1886067 w 764"/>
                <a:gd name="T117" fmla="*/ 79732994 h 555"/>
                <a:gd name="T118" fmla="*/ 0 w 764"/>
                <a:gd name="T119" fmla="*/ 76718987 h 555"/>
                <a:gd name="T120" fmla="*/ 377387 w 764"/>
                <a:gd name="T121" fmla="*/ 73431217 h 555"/>
                <a:gd name="T122" fmla="*/ 4149087 w 764"/>
                <a:gd name="T123" fmla="*/ 67951252 h 555"/>
                <a:gd name="T124" fmla="*/ 6412107 w 764"/>
                <a:gd name="T125" fmla="*/ 60553378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253" name="Freeform 261"/>
            <p:cNvSpPr>
              <a:spLocks/>
            </p:cNvSpPr>
            <p:nvPr>
              <p:custDataLst>
                <p:tags r:id="rId180"/>
              </p:custDataLst>
            </p:nvPr>
          </p:nvSpPr>
          <p:spPr bwMode="auto">
            <a:xfrm>
              <a:off x="5497513" y="3016250"/>
              <a:ext cx="365125" cy="423863"/>
            </a:xfrm>
            <a:custGeom>
              <a:avLst/>
              <a:gdLst>
                <a:gd name="T0" fmla="*/ 150389759 w 831"/>
                <a:gd name="T1" fmla="*/ 22343583 h 812"/>
                <a:gd name="T2" fmla="*/ 136489964 w 831"/>
                <a:gd name="T3" fmla="*/ 7901999 h 812"/>
                <a:gd name="T4" fmla="*/ 108497048 w 831"/>
                <a:gd name="T5" fmla="*/ 2724827 h 812"/>
                <a:gd name="T6" fmla="*/ 96334562 w 831"/>
                <a:gd name="T7" fmla="*/ 7901999 h 812"/>
                <a:gd name="T8" fmla="*/ 93824822 w 831"/>
                <a:gd name="T9" fmla="*/ 13351653 h 812"/>
                <a:gd name="T10" fmla="*/ 95948347 w 831"/>
                <a:gd name="T11" fmla="*/ 19346273 h 812"/>
                <a:gd name="T12" fmla="*/ 99809621 w 831"/>
                <a:gd name="T13" fmla="*/ 24523444 h 812"/>
                <a:gd name="T14" fmla="*/ 99616294 w 831"/>
                <a:gd name="T15" fmla="*/ 30245581 h 812"/>
                <a:gd name="T16" fmla="*/ 94790141 w 831"/>
                <a:gd name="T17" fmla="*/ 38147580 h 812"/>
                <a:gd name="T18" fmla="*/ 92666616 w 831"/>
                <a:gd name="T19" fmla="*/ 44142200 h 812"/>
                <a:gd name="T20" fmla="*/ 86874705 w 831"/>
                <a:gd name="T21" fmla="*/ 50136819 h 812"/>
                <a:gd name="T22" fmla="*/ 82434328 w 831"/>
                <a:gd name="T23" fmla="*/ 66212778 h 812"/>
                <a:gd name="T24" fmla="*/ 81083234 w 831"/>
                <a:gd name="T25" fmla="*/ 90463739 h 812"/>
                <a:gd name="T26" fmla="*/ 75677539 w 831"/>
                <a:gd name="T27" fmla="*/ 86921464 h 812"/>
                <a:gd name="T28" fmla="*/ 71430489 w 831"/>
                <a:gd name="T29" fmla="*/ 85831533 h 812"/>
                <a:gd name="T30" fmla="*/ 65252802 w 831"/>
                <a:gd name="T31" fmla="*/ 92371118 h 812"/>
                <a:gd name="T32" fmla="*/ 60426210 w 831"/>
                <a:gd name="T33" fmla="*/ 95640911 h 812"/>
                <a:gd name="T34" fmla="*/ 55985833 w 831"/>
                <a:gd name="T35" fmla="*/ 100818082 h 812"/>
                <a:gd name="T36" fmla="*/ 54055196 w 831"/>
                <a:gd name="T37" fmla="*/ 115532149 h 812"/>
                <a:gd name="T38" fmla="*/ 45367770 w 831"/>
                <a:gd name="T39" fmla="*/ 120436838 h 812"/>
                <a:gd name="T40" fmla="*/ 24517858 w 831"/>
                <a:gd name="T41" fmla="*/ 125886492 h 812"/>
                <a:gd name="T42" fmla="*/ 5019480 w 831"/>
                <a:gd name="T43" fmla="*/ 122344217 h 812"/>
                <a:gd name="T44" fmla="*/ 9845633 w 831"/>
                <a:gd name="T45" fmla="*/ 137603249 h 812"/>
                <a:gd name="T46" fmla="*/ 18533499 w 831"/>
                <a:gd name="T47" fmla="*/ 147140144 h 812"/>
                <a:gd name="T48" fmla="*/ 23745867 w 831"/>
                <a:gd name="T49" fmla="*/ 157222004 h 812"/>
                <a:gd name="T50" fmla="*/ 27413813 w 831"/>
                <a:gd name="T51" fmla="*/ 162399176 h 812"/>
                <a:gd name="T52" fmla="*/ 19112602 w 831"/>
                <a:gd name="T53" fmla="*/ 176295272 h 812"/>
                <a:gd name="T54" fmla="*/ 16795750 w 831"/>
                <a:gd name="T55" fmla="*/ 182834857 h 812"/>
                <a:gd name="T56" fmla="*/ 21042800 w 831"/>
                <a:gd name="T57" fmla="*/ 196186510 h 812"/>
                <a:gd name="T58" fmla="*/ 42858030 w 831"/>
                <a:gd name="T59" fmla="*/ 193461683 h 812"/>
                <a:gd name="T60" fmla="*/ 58302685 w 831"/>
                <a:gd name="T61" fmla="*/ 192099270 h 812"/>
                <a:gd name="T62" fmla="*/ 63707941 w 831"/>
                <a:gd name="T63" fmla="*/ 196458993 h 812"/>
                <a:gd name="T64" fmla="*/ 69306964 w 831"/>
                <a:gd name="T65" fmla="*/ 205995888 h 812"/>
                <a:gd name="T66" fmla="*/ 78766382 w 831"/>
                <a:gd name="T67" fmla="*/ 213897887 h 812"/>
                <a:gd name="T68" fmla="*/ 86681817 w 831"/>
                <a:gd name="T69" fmla="*/ 218802576 h 812"/>
                <a:gd name="T70" fmla="*/ 88805342 w 831"/>
                <a:gd name="T71" fmla="*/ 215532783 h 812"/>
                <a:gd name="T72" fmla="*/ 94017710 w 831"/>
                <a:gd name="T73" fmla="*/ 210900577 h 812"/>
                <a:gd name="T74" fmla="*/ 106952626 w 831"/>
                <a:gd name="T75" fmla="*/ 208175750 h 812"/>
                <a:gd name="T76" fmla="*/ 115253837 w 831"/>
                <a:gd name="T77" fmla="*/ 204360992 h 812"/>
                <a:gd name="T78" fmla="*/ 119307999 w 831"/>
                <a:gd name="T79" fmla="*/ 198093889 h 812"/>
                <a:gd name="T80" fmla="*/ 112744097 w 831"/>
                <a:gd name="T81" fmla="*/ 190736856 h 812"/>
                <a:gd name="T82" fmla="*/ 104635774 w 831"/>
                <a:gd name="T83" fmla="*/ 174660376 h 812"/>
                <a:gd name="T84" fmla="*/ 101546931 w 831"/>
                <a:gd name="T85" fmla="*/ 170028170 h 812"/>
                <a:gd name="T86" fmla="*/ 101546931 w 831"/>
                <a:gd name="T87" fmla="*/ 157494487 h 812"/>
                <a:gd name="T88" fmla="*/ 112357882 w 831"/>
                <a:gd name="T89" fmla="*/ 153407246 h 812"/>
                <a:gd name="T90" fmla="*/ 120080429 w 831"/>
                <a:gd name="T91" fmla="*/ 144687799 h 812"/>
                <a:gd name="T92" fmla="*/ 132822018 w 831"/>
                <a:gd name="T93" fmla="*/ 113624770 h 812"/>
                <a:gd name="T94" fmla="*/ 140930341 w 831"/>
                <a:gd name="T95" fmla="*/ 100273117 h 812"/>
                <a:gd name="T96" fmla="*/ 139965023 w 831"/>
                <a:gd name="T97" fmla="*/ 89918774 h 812"/>
                <a:gd name="T98" fmla="*/ 140737014 w 831"/>
                <a:gd name="T99" fmla="*/ 83106706 h 812"/>
                <a:gd name="T100" fmla="*/ 144984503 w 831"/>
                <a:gd name="T101" fmla="*/ 78746982 h 812"/>
                <a:gd name="T102" fmla="*/ 129346959 w 831"/>
                <a:gd name="T103" fmla="*/ 56403400 h 812"/>
                <a:gd name="T104" fmla="*/ 146335597 w 831"/>
                <a:gd name="T105" fmla="*/ 38147580 h 812"/>
                <a:gd name="T106" fmla="*/ 155409239 w 831"/>
                <a:gd name="T107" fmla="*/ 33515374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254" name="Freeform 262"/>
            <p:cNvSpPr>
              <a:spLocks/>
            </p:cNvSpPr>
            <p:nvPr>
              <p:custDataLst>
                <p:tags r:id="rId181"/>
              </p:custDataLst>
            </p:nvPr>
          </p:nvSpPr>
          <p:spPr bwMode="auto">
            <a:xfrm>
              <a:off x="6288088" y="3284538"/>
              <a:ext cx="220662" cy="585787"/>
            </a:xfrm>
            <a:custGeom>
              <a:avLst/>
              <a:gdLst>
                <a:gd name="T0" fmla="*/ 83627781 w 505"/>
                <a:gd name="T1" fmla="*/ 291362904 h 1121"/>
                <a:gd name="T2" fmla="*/ 84582531 w 505"/>
                <a:gd name="T3" fmla="*/ 280713163 h 1121"/>
                <a:gd name="T4" fmla="*/ 76181607 w 505"/>
                <a:gd name="T5" fmla="*/ 279074942 h 1121"/>
                <a:gd name="T6" fmla="*/ 77326870 w 505"/>
                <a:gd name="T7" fmla="*/ 261325200 h 1121"/>
                <a:gd name="T8" fmla="*/ 80000169 w 505"/>
                <a:gd name="T9" fmla="*/ 254225721 h 1121"/>
                <a:gd name="T10" fmla="*/ 78854469 w 505"/>
                <a:gd name="T11" fmla="*/ 245487499 h 1121"/>
                <a:gd name="T12" fmla="*/ 75990657 w 505"/>
                <a:gd name="T13" fmla="*/ 243849279 h 1121"/>
                <a:gd name="T14" fmla="*/ 72935457 w 505"/>
                <a:gd name="T15" fmla="*/ 228830427 h 1121"/>
                <a:gd name="T16" fmla="*/ 61861670 w 505"/>
                <a:gd name="T17" fmla="*/ 196335653 h 1121"/>
                <a:gd name="T18" fmla="*/ 56515508 w 505"/>
                <a:gd name="T19" fmla="*/ 191966542 h 1121"/>
                <a:gd name="T20" fmla="*/ 53842646 w 505"/>
                <a:gd name="T21" fmla="*/ 196062355 h 1121"/>
                <a:gd name="T22" fmla="*/ 43150322 w 505"/>
                <a:gd name="T23" fmla="*/ 202615761 h 1121"/>
                <a:gd name="T24" fmla="*/ 32267485 w 505"/>
                <a:gd name="T25" fmla="*/ 200977540 h 1121"/>
                <a:gd name="T26" fmla="*/ 25393723 w 505"/>
                <a:gd name="T27" fmla="*/ 154829360 h 1121"/>
                <a:gd name="T28" fmla="*/ 19284198 w 505"/>
                <a:gd name="T29" fmla="*/ 141994802 h 1121"/>
                <a:gd name="T30" fmla="*/ 9737574 w 505"/>
                <a:gd name="T31" fmla="*/ 137079618 h 1121"/>
                <a:gd name="T32" fmla="*/ 1527600 w 505"/>
                <a:gd name="T33" fmla="*/ 128614694 h 1121"/>
                <a:gd name="T34" fmla="*/ 4391412 w 505"/>
                <a:gd name="T35" fmla="*/ 121515215 h 1121"/>
                <a:gd name="T36" fmla="*/ 11073787 w 505"/>
                <a:gd name="T37" fmla="*/ 98577512 h 1121"/>
                <a:gd name="T38" fmla="*/ 12792337 w 505"/>
                <a:gd name="T39" fmla="*/ 75639810 h 1121"/>
                <a:gd name="T40" fmla="*/ 15274686 w 505"/>
                <a:gd name="T41" fmla="*/ 72362846 h 1121"/>
                <a:gd name="T42" fmla="*/ 21575161 w 505"/>
                <a:gd name="T43" fmla="*/ 70451328 h 1121"/>
                <a:gd name="T44" fmla="*/ 25584673 w 505"/>
                <a:gd name="T45" fmla="*/ 60620958 h 1121"/>
                <a:gd name="T46" fmla="*/ 26730373 w 505"/>
                <a:gd name="T47" fmla="*/ 31948700 h 1121"/>
                <a:gd name="T48" fmla="*/ 30357985 w 505"/>
                <a:gd name="T49" fmla="*/ 26760740 h 1121"/>
                <a:gd name="T50" fmla="*/ 40668409 w 505"/>
                <a:gd name="T51" fmla="*/ 20206812 h 1121"/>
                <a:gd name="T52" fmla="*/ 44677922 w 505"/>
                <a:gd name="T53" fmla="*/ 5734556 h 1121"/>
                <a:gd name="T54" fmla="*/ 52887896 w 505"/>
                <a:gd name="T55" fmla="*/ 8464924 h 1121"/>
                <a:gd name="T56" fmla="*/ 59570271 w 505"/>
                <a:gd name="T57" fmla="*/ 13380109 h 1121"/>
                <a:gd name="T58" fmla="*/ 64343583 w 505"/>
                <a:gd name="T59" fmla="*/ 33314145 h 1121"/>
                <a:gd name="T60" fmla="*/ 63961683 w 505"/>
                <a:gd name="T61" fmla="*/ 45602107 h 1121"/>
                <a:gd name="T62" fmla="*/ 57279308 w 505"/>
                <a:gd name="T63" fmla="*/ 58982738 h 1121"/>
                <a:gd name="T64" fmla="*/ 55942659 w 505"/>
                <a:gd name="T65" fmla="*/ 66901588 h 1121"/>
                <a:gd name="T66" fmla="*/ 58997858 w 505"/>
                <a:gd name="T67" fmla="*/ 71270699 h 1121"/>
                <a:gd name="T68" fmla="*/ 66062133 w 505"/>
                <a:gd name="T69" fmla="*/ 73728291 h 1121"/>
                <a:gd name="T70" fmla="*/ 70835445 w 505"/>
                <a:gd name="T71" fmla="*/ 79462848 h 1121"/>
                <a:gd name="T72" fmla="*/ 75990657 w 505"/>
                <a:gd name="T73" fmla="*/ 94208401 h 1121"/>
                <a:gd name="T74" fmla="*/ 82100182 w 505"/>
                <a:gd name="T75" fmla="*/ 109226731 h 1121"/>
                <a:gd name="T76" fmla="*/ 88592043 w 505"/>
                <a:gd name="T77" fmla="*/ 114141915 h 1121"/>
                <a:gd name="T78" fmla="*/ 96420118 w 505"/>
                <a:gd name="T79" fmla="*/ 114141915 h 1121"/>
                <a:gd name="T80" fmla="*/ 90883006 w 505"/>
                <a:gd name="T81" fmla="*/ 134895323 h 1121"/>
                <a:gd name="T82" fmla="*/ 81527332 w 505"/>
                <a:gd name="T83" fmla="*/ 139264434 h 1121"/>
                <a:gd name="T84" fmla="*/ 73126407 w 505"/>
                <a:gd name="T85" fmla="*/ 144179619 h 1121"/>
                <a:gd name="T86" fmla="*/ 68734995 w 505"/>
                <a:gd name="T87" fmla="*/ 156194282 h 1121"/>
                <a:gd name="T88" fmla="*/ 70644495 w 505"/>
                <a:gd name="T89" fmla="*/ 173944025 h 1121"/>
                <a:gd name="T90" fmla="*/ 76754020 w 505"/>
                <a:gd name="T91" fmla="*/ 186504762 h 1121"/>
                <a:gd name="T92" fmla="*/ 82100182 w 505"/>
                <a:gd name="T93" fmla="*/ 200704242 h 1121"/>
                <a:gd name="T94" fmla="*/ 81718282 w 505"/>
                <a:gd name="T95" fmla="*/ 211900056 h 1121"/>
                <a:gd name="T96" fmla="*/ 80000169 w 505"/>
                <a:gd name="T97" fmla="*/ 218726759 h 1121"/>
                <a:gd name="T98" fmla="*/ 83054931 w 505"/>
                <a:gd name="T99" fmla="*/ 232380166 h 1121"/>
                <a:gd name="T100" fmla="*/ 92219656 w 505"/>
                <a:gd name="T101" fmla="*/ 263510017 h 1121"/>
                <a:gd name="T102" fmla="*/ 87446344 w 505"/>
                <a:gd name="T103" fmla="*/ 29545871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359" name="Freeform 263"/>
            <p:cNvSpPr>
              <a:spLocks/>
            </p:cNvSpPr>
            <p:nvPr>
              <p:custDataLst>
                <p:tags r:id="rId182"/>
              </p:custDataLst>
            </p:nvPr>
          </p:nvSpPr>
          <p:spPr bwMode="auto">
            <a:xfrm>
              <a:off x="3611563" y="3794125"/>
              <a:ext cx="80962"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56" name="Freeform 264"/>
            <p:cNvSpPr>
              <a:spLocks/>
            </p:cNvSpPr>
            <p:nvPr>
              <p:custDataLst>
                <p:tags r:id="rId183"/>
              </p:custDataLst>
            </p:nvPr>
          </p:nvSpPr>
          <p:spPr bwMode="auto">
            <a:xfrm>
              <a:off x="3695700" y="3876675"/>
              <a:ext cx="74613" cy="100013"/>
            </a:xfrm>
            <a:custGeom>
              <a:avLst/>
              <a:gdLst>
                <a:gd name="T0" fmla="*/ 0 w 173"/>
                <a:gd name="T1" fmla="*/ 18450651 h 192"/>
                <a:gd name="T2" fmla="*/ 5022293 w 173"/>
                <a:gd name="T3" fmla="*/ 11396159 h 192"/>
                <a:gd name="T4" fmla="*/ 9486075 w 173"/>
                <a:gd name="T5" fmla="*/ 5698080 h 192"/>
                <a:gd name="T6" fmla="*/ 10416353 w 173"/>
                <a:gd name="T7" fmla="*/ 4341146 h 192"/>
                <a:gd name="T8" fmla="*/ 11718397 w 173"/>
                <a:gd name="T9" fmla="*/ 3256120 h 192"/>
                <a:gd name="T10" fmla="*/ 13020441 w 173"/>
                <a:gd name="T11" fmla="*/ 2170573 h 192"/>
                <a:gd name="T12" fmla="*/ 14136602 w 173"/>
                <a:gd name="T13" fmla="*/ 1627799 h 192"/>
                <a:gd name="T14" fmla="*/ 15438646 w 173"/>
                <a:gd name="T15" fmla="*/ 814160 h 192"/>
                <a:gd name="T16" fmla="*/ 16740259 w 173"/>
                <a:gd name="T17" fmla="*/ 542773 h 192"/>
                <a:gd name="T18" fmla="*/ 18228617 w 173"/>
                <a:gd name="T19" fmla="*/ 271387 h 192"/>
                <a:gd name="T20" fmla="*/ 19902428 w 173"/>
                <a:gd name="T21" fmla="*/ 0 h 192"/>
                <a:gd name="T22" fmla="*/ 21576669 w 173"/>
                <a:gd name="T23" fmla="*/ 271387 h 192"/>
                <a:gd name="T24" fmla="*/ 23064596 w 173"/>
                <a:gd name="T25" fmla="*/ 542773 h 192"/>
                <a:gd name="T26" fmla="*/ 24552523 w 173"/>
                <a:gd name="T27" fmla="*/ 1356413 h 192"/>
                <a:gd name="T28" fmla="*/ 25854567 w 173"/>
                <a:gd name="T29" fmla="*/ 2170573 h 192"/>
                <a:gd name="T30" fmla="*/ 26970729 w 173"/>
                <a:gd name="T31" fmla="*/ 3527507 h 192"/>
                <a:gd name="T32" fmla="*/ 28086890 w 173"/>
                <a:gd name="T33" fmla="*/ 5155306 h 192"/>
                <a:gd name="T34" fmla="*/ 28830853 w 173"/>
                <a:gd name="T35" fmla="*/ 6512240 h 192"/>
                <a:gd name="T36" fmla="*/ 29760700 w 173"/>
                <a:gd name="T37" fmla="*/ 8140039 h 192"/>
                <a:gd name="T38" fmla="*/ 30318780 w 173"/>
                <a:gd name="T39" fmla="*/ 10039225 h 192"/>
                <a:gd name="T40" fmla="*/ 30876861 w 173"/>
                <a:gd name="T41" fmla="*/ 11667546 h 192"/>
                <a:gd name="T42" fmla="*/ 31249058 w 173"/>
                <a:gd name="T43" fmla="*/ 13566732 h 192"/>
                <a:gd name="T44" fmla="*/ 31434941 w 173"/>
                <a:gd name="T45" fmla="*/ 15465918 h 192"/>
                <a:gd name="T46" fmla="*/ 31993022 w 173"/>
                <a:gd name="T47" fmla="*/ 19536198 h 192"/>
                <a:gd name="T48" fmla="*/ 32178905 w 173"/>
                <a:gd name="T49" fmla="*/ 23605957 h 192"/>
                <a:gd name="T50" fmla="*/ 29202619 w 173"/>
                <a:gd name="T51" fmla="*/ 30931836 h 192"/>
                <a:gd name="T52" fmla="*/ 27156612 w 173"/>
                <a:gd name="T53" fmla="*/ 37172689 h 192"/>
                <a:gd name="T54" fmla="*/ 25854567 w 173"/>
                <a:gd name="T55" fmla="*/ 40157422 h 192"/>
                <a:gd name="T56" fmla="*/ 24180757 w 173"/>
                <a:gd name="T57" fmla="*/ 43413021 h 192"/>
                <a:gd name="T58" fmla="*/ 21762552 w 173"/>
                <a:gd name="T59" fmla="*/ 47211915 h 192"/>
                <a:gd name="T60" fmla="*/ 18414500 w 173"/>
                <a:gd name="T61" fmla="*/ 52095834 h 192"/>
                <a:gd name="T62" fmla="*/ 15996295 w 173"/>
                <a:gd name="T63" fmla="*/ 49653874 h 192"/>
                <a:gd name="T64" fmla="*/ 13764405 w 173"/>
                <a:gd name="T65" fmla="*/ 47754688 h 192"/>
                <a:gd name="T66" fmla="*/ 11718397 w 173"/>
                <a:gd name="T67" fmla="*/ 45854981 h 192"/>
                <a:gd name="T68" fmla="*/ 10044155 w 173"/>
                <a:gd name="T69" fmla="*/ 44227182 h 192"/>
                <a:gd name="T70" fmla="*/ 8556228 w 173"/>
                <a:gd name="T71" fmla="*/ 42327995 h 192"/>
                <a:gd name="T72" fmla="*/ 7440067 w 173"/>
                <a:gd name="T73" fmla="*/ 40699675 h 192"/>
                <a:gd name="T74" fmla="*/ 6324337 w 173"/>
                <a:gd name="T75" fmla="*/ 39071876 h 192"/>
                <a:gd name="T76" fmla="*/ 5579943 w 173"/>
                <a:gd name="T77" fmla="*/ 37172689 h 192"/>
                <a:gd name="T78" fmla="*/ 4092015 w 173"/>
                <a:gd name="T79" fmla="*/ 33373796 h 192"/>
                <a:gd name="T80" fmla="*/ 2976286 w 173"/>
                <a:gd name="T81" fmla="*/ 29032650 h 192"/>
                <a:gd name="T82" fmla="*/ 1674242 w 173"/>
                <a:gd name="T83" fmla="*/ 24420118 h 192"/>
                <a:gd name="T84" fmla="*/ 0 w 173"/>
                <a:gd name="T85" fmla="*/ 1845065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257" name="Freeform 265"/>
            <p:cNvSpPr>
              <a:spLocks/>
            </p:cNvSpPr>
            <p:nvPr>
              <p:custDataLst>
                <p:tags r:id="rId184"/>
              </p:custDataLst>
            </p:nvPr>
          </p:nvSpPr>
          <p:spPr bwMode="auto">
            <a:xfrm>
              <a:off x="3738563" y="3927475"/>
              <a:ext cx="104775" cy="131763"/>
            </a:xfrm>
            <a:custGeom>
              <a:avLst/>
              <a:gdLst>
                <a:gd name="T0" fmla="*/ 14963489 w 233"/>
                <a:gd name="T1" fmla="*/ 0 h 252"/>
                <a:gd name="T2" fmla="*/ 16783336 w 233"/>
                <a:gd name="T3" fmla="*/ 546917 h 252"/>
                <a:gd name="T4" fmla="*/ 17996568 w 233"/>
                <a:gd name="T5" fmla="*/ 820375 h 252"/>
                <a:gd name="T6" fmla="*/ 19209799 w 233"/>
                <a:gd name="T7" fmla="*/ 820375 h 252"/>
                <a:gd name="T8" fmla="*/ 20018770 w 233"/>
                <a:gd name="T9" fmla="*/ 546917 h 252"/>
                <a:gd name="T10" fmla="*/ 21434357 w 233"/>
                <a:gd name="T11" fmla="*/ 273458 h 252"/>
                <a:gd name="T12" fmla="*/ 22849944 w 233"/>
                <a:gd name="T13" fmla="*/ 0 h 252"/>
                <a:gd name="T14" fmla="*/ 25276407 w 233"/>
                <a:gd name="T15" fmla="*/ 4647748 h 252"/>
                <a:gd name="T16" fmla="*/ 28309486 w 233"/>
                <a:gd name="T17" fmla="*/ 10115348 h 252"/>
                <a:gd name="T18" fmla="*/ 29118456 w 233"/>
                <a:gd name="T19" fmla="*/ 11482117 h 252"/>
                <a:gd name="T20" fmla="*/ 29926978 w 233"/>
                <a:gd name="T21" fmla="*/ 12575951 h 252"/>
                <a:gd name="T22" fmla="*/ 30938304 w 233"/>
                <a:gd name="T23" fmla="*/ 13395803 h 252"/>
                <a:gd name="T24" fmla="*/ 31746825 w 233"/>
                <a:gd name="T25" fmla="*/ 14216179 h 252"/>
                <a:gd name="T26" fmla="*/ 32960506 w 233"/>
                <a:gd name="T27" fmla="*/ 14763096 h 252"/>
                <a:gd name="T28" fmla="*/ 33971383 w 233"/>
                <a:gd name="T29" fmla="*/ 15309490 h 252"/>
                <a:gd name="T30" fmla="*/ 35184614 w 233"/>
                <a:gd name="T31" fmla="*/ 15309490 h 252"/>
                <a:gd name="T32" fmla="*/ 36397846 w 233"/>
                <a:gd name="T33" fmla="*/ 15309490 h 252"/>
                <a:gd name="T34" fmla="*/ 36397846 w 233"/>
                <a:gd name="T35" fmla="*/ 21870923 h 252"/>
                <a:gd name="T36" fmla="*/ 39026664 w 233"/>
                <a:gd name="T37" fmla="*/ 28158899 h 252"/>
                <a:gd name="T38" fmla="*/ 42868714 w 233"/>
                <a:gd name="T39" fmla="*/ 34993791 h 252"/>
                <a:gd name="T40" fmla="*/ 43475330 w 233"/>
                <a:gd name="T41" fmla="*/ 36907477 h 252"/>
                <a:gd name="T42" fmla="*/ 44486206 w 233"/>
                <a:gd name="T43" fmla="*/ 38821164 h 252"/>
                <a:gd name="T44" fmla="*/ 45092822 w 233"/>
                <a:gd name="T45" fmla="*/ 41281767 h 252"/>
                <a:gd name="T46" fmla="*/ 45699437 w 233"/>
                <a:gd name="T47" fmla="*/ 43741847 h 252"/>
                <a:gd name="T48" fmla="*/ 46508408 w 233"/>
                <a:gd name="T49" fmla="*/ 46475908 h 252"/>
                <a:gd name="T50" fmla="*/ 46912669 w 233"/>
                <a:gd name="T51" fmla="*/ 49209970 h 252"/>
                <a:gd name="T52" fmla="*/ 47115024 w 233"/>
                <a:gd name="T53" fmla="*/ 52216967 h 252"/>
                <a:gd name="T54" fmla="*/ 47115024 w 233"/>
                <a:gd name="T55" fmla="*/ 55770881 h 252"/>
                <a:gd name="T56" fmla="*/ 46912669 w 233"/>
                <a:gd name="T57" fmla="*/ 59051859 h 252"/>
                <a:gd name="T58" fmla="*/ 46508408 w 233"/>
                <a:gd name="T59" fmla="*/ 62332315 h 252"/>
                <a:gd name="T60" fmla="*/ 45901793 w 233"/>
                <a:gd name="T61" fmla="*/ 65613293 h 252"/>
                <a:gd name="T62" fmla="*/ 45699437 w 233"/>
                <a:gd name="T63" fmla="*/ 68893749 h 252"/>
                <a:gd name="T64" fmla="*/ 44890916 w 233"/>
                <a:gd name="T65" fmla="*/ 68893749 h 252"/>
                <a:gd name="T66" fmla="*/ 43475330 w 233"/>
                <a:gd name="T67" fmla="*/ 68346832 h 252"/>
                <a:gd name="T68" fmla="*/ 42059743 w 233"/>
                <a:gd name="T69" fmla="*/ 67253521 h 252"/>
                <a:gd name="T70" fmla="*/ 40037540 w 233"/>
                <a:gd name="T71" fmla="*/ 65886229 h 252"/>
                <a:gd name="T72" fmla="*/ 35588875 w 233"/>
                <a:gd name="T73" fmla="*/ 61785921 h 252"/>
                <a:gd name="T74" fmla="*/ 30533593 w 233"/>
                <a:gd name="T75" fmla="*/ 56864715 h 252"/>
                <a:gd name="T76" fmla="*/ 25276407 w 233"/>
                <a:gd name="T77" fmla="*/ 50850198 h 252"/>
                <a:gd name="T78" fmla="*/ 20221125 w 233"/>
                <a:gd name="T79" fmla="*/ 45109139 h 252"/>
                <a:gd name="T80" fmla="*/ 15772460 w 233"/>
                <a:gd name="T81" fmla="*/ 39641016 h 252"/>
                <a:gd name="T82" fmla="*/ 12334671 w 233"/>
                <a:gd name="T83" fmla="*/ 35267250 h 252"/>
                <a:gd name="T84" fmla="*/ 11121439 w 233"/>
                <a:gd name="T85" fmla="*/ 34173416 h 252"/>
                <a:gd name="T86" fmla="*/ 9706302 w 233"/>
                <a:gd name="T87" fmla="*/ 32806647 h 252"/>
                <a:gd name="T88" fmla="*/ 8290715 w 233"/>
                <a:gd name="T89" fmla="*/ 31712813 h 252"/>
                <a:gd name="T90" fmla="*/ 6672773 w 233"/>
                <a:gd name="T91" fmla="*/ 30619502 h 252"/>
                <a:gd name="T92" fmla="*/ 3437789 w 233"/>
                <a:gd name="T93" fmla="*/ 28432357 h 252"/>
                <a:gd name="T94" fmla="*/ 0 w 233"/>
                <a:gd name="T95" fmla="*/ 27065588 h 252"/>
                <a:gd name="T96" fmla="*/ 8088360 w 233"/>
                <a:gd name="T97" fmla="*/ 17223699 h 252"/>
                <a:gd name="T98" fmla="*/ 11930410 w 233"/>
                <a:gd name="T99" fmla="*/ 11755576 h 252"/>
                <a:gd name="T100" fmla="*/ 13143642 w 233"/>
                <a:gd name="T101" fmla="*/ 9022037 h 252"/>
                <a:gd name="T102" fmla="*/ 13952612 w 233"/>
                <a:gd name="T103" fmla="*/ 6834892 h 252"/>
                <a:gd name="T104" fmla="*/ 14559228 w 233"/>
                <a:gd name="T105" fmla="*/ 3827372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258" name="Freeform 266"/>
            <p:cNvSpPr>
              <a:spLocks/>
            </p:cNvSpPr>
            <p:nvPr>
              <p:custDataLst>
                <p:tags r:id="rId185"/>
              </p:custDataLst>
            </p:nvPr>
          </p:nvSpPr>
          <p:spPr bwMode="auto">
            <a:xfrm>
              <a:off x="3952875" y="3846513"/>
              <a:ext cx="104775" cy="201612"/>
            </a:xfrm>
            <a:custGeom>
              <a:avLst/>
              <a:gdLst>
                <a:gd name="T0" fmla="*/ 2358289 w 246"/>
                <a:gd name="T1" fmla="*/ 105842050 h 380"/>
                <a:gd name="T2" fmla="*/ 2539729 w 246"/>
                <a:gd name="T3" fmla="*/ 103308623 h 380"/>
                <a:gd name="T4" fmla="*/ 2721169 w 246"/>
                <a:gd name="T5" fmla="*/ 101056394 h 380"/>
                <a:gd name="T6" fmla="*/ 3265062 w 246"/>
                <a:gd name="T7" fmla="*/ 98804695 h 380"/>
                <a:gd name="T8" fmla="*/ 3627941 w 246"/>
                <a:gd name="T9" fmla="*/ 96834193 h 380"/>
                <a:gd name="T10" fmla="*/ 4535139 w 246"/>
                <a:gd name="T11" fmla="*/ 93737842 h 380"/>
                <a:gd name="T12" fmla="*/ 4716579 w 246"/>
                <a:gd name="T13" fmla="*/ 92048537 h 380"/>
                <a:gd name="T14" fmla="*/ 4535139 w 246"/>
                <a:gd name="T15" fmla="*/ 90359763 h 380"/>
                <a:gd name="T16" fmla="*/ 4172260 w 246"/>
                <a:gd name="T17" fmla="*/ 88389261 h 380"/>
                <a:gd name="T18" fmla="*/ 3446501 w 246"/>
                <a:gd name="T19" fmla="*/ 85855835 h 380"/>
                <a:gd name="T20" fmla="*/ 2358289 w 246"/>
                <a:gd name="T21" fmla="*/ 83040681 h 380"/>
                <a:gd name="T22" fmla="*/ 1632531 w 246"/>
                <a:gd name="T23" fmla="*/ 80226057 h 380"/>
                <a:gd name="T24" fmla="*/ 725759 w 246"/>
                <a:gd name="T25" fmla="*/ 77410903 h 380"/>
                <a:gd name="T26" fmla="*/ 181440 w 246"/>
                <a:gd name="T27" fmla="*/ 75159204 h 380"/>
                <a:gd name="T28" fmla="*/ 0 w 246"/>
                <a:gd name="T29" fmla="*/ 72906975 h 380"/>
                <a:gd name="T30" fmla="*/ 181440 w 246"/>
                <a:gd name="T31" fmla="*/ 70655276 h 380"/>
                <a:gd name="T32" fmla="*/ 362879 w 246"/>
                <a:gd name="T33" fmla="*/ 68403046 h 380"/>
                <a:gd name="T34" fmla="*/ 544319 w 246"/>
                <a:gd name="T35" fmla="*/ 66432545 h 380"/>
                <a:gd name="T36" fmla="*/ 1088212 w 246"/>
                <a:gd name="T37" fmla="*/ 64743770 h 380"/>
                <a:gd name="T38" fmla="*/ 1995410 w 246"/>
                <a:gd name="T39" fmla="*/ 61365692 h 380"/>
                <a:gd name="T40" fmla="*/ 3446501 w 246"/>
                <a:gd name="T41" fmla="*/ 58269340 h 380"/>
                <a:gd name="T42" fmla="*/ 4716579 w 246"/>
                <a:gd name="T43" fmla="*/ 55454186 h 380"/>
                <a:gd name="T44" fmla="*/ 6167670 w 246"/>
                <a:gd name="T45" fmla="*/ 52076638 h 380"/>
                <a:gd name="T46" fmla="*/ 7437747 w 246"/>
                <a:gd name="T47" fmla="*/ 48698559 h 380"/>
                <a:gd name="T48" fmla="*/ 8525959 w 246"/>
                <a:gd name="T49" fmla="*/ 45039283 h 380"/>
                <a:gd name="T50" fmla="*/ 4716579 w 246"/>
                <a:gd name="T51" fmla="*/ 20549140 h 380"/>
                <a:gd name="T52" fmla="*/ 4716579 w 246"/>
                <a:gd name="T53" fmla="*/ 14074710 h 380"/>
                <a:gd name="T54" fmla="*/ 4353699 w 246"/>
                <a:gd name="T55" fmla="*/ 9289054 h 380"/>
                <a:gd name="T56" fmla="*/ 4353699 w 246"/>
                <a:gd name="T57" fmla="*/ 7037355 h 380"/>
                <a:gd name="T58" fmla="*/ 4353699 w 246"/>
                <a:gd name="T59" fmla="*/ 4503928 h 380"/>
                <a:gd name="T60" fmla="*/ 4535139 w 246"/>
                <a:gd name="T61" fmla="*/ 2251699 h 380"/>
                <a:gd name="T62" fmla="*/ 4716579 w 246"/>
                <a:gd name="T63" fmla="*/ 0 h 380"/>
                <a:gd name="T64" fmla="*/ 32652745 w 246"/>
                <a:gd name="T65" fmla="*/ 0 h 380"/>
                <a:gd name="T66" fmla="*/ 39908627 w 246"/>
                <a:gd name="T67" fmla="*/ 36312624 h 380"/>
                <a:gd name="T68" fmla="*/ 39908627 w 246"/>
                <a:gd name="T69" fmla="*/ 59113993 h 380"/>
                <a:gd name="T70" fmla="*/ 39908627 w 246"/>
                <a:gd name="T71" fmla="*/ 61928616 h 380"/>
                <a:gd name="T72" fmla="*/ 40090067 w 246"/>
                <a:gd name="T73" fmla="*/ 64743770 h 380"/>
                <a:gd name="T74" fmla="*/ 40452946 w 246"/>
                <a:gd name="T75" fmla="*/ 67558925 h 380"/>
                <a:gd name="T76" fmla="*/ 40815825 w 246"/>
                <a:gd name="T77" fmla="*/ 70373548 h 380"/>
                <a:gd name="T78" fmla="*/ 41360144 w 246"/>
                <a:gd name="T79" fmla="*/ 72906975 h 380"/>
                <a:gd name="T80" fmla="*/ 42448356 w 246"/>
                <a:gd name="T81" fmla="*/ 75440401 h 380"/>
                <a:gd name="T82" fmla="*/ 43355554 w 246"/>
                <a:gd name="T83" fmla="*/ 78255555 h 380"/>
                <a:gd name="T84" fmla="*/ 44625206 w 246"/>
                <a:gd name="T85" fmla="*/ 81351907 h 380"/>
                <a:gd name="T86" fmla="*/ 40634386 w 246"/>
                <a:gd name="T87" fmla="*/ 83040681 h 380"/>
                <a:gd name="T88" fmla="*/ 36643566 w 246"/>
                <a:gd name="T89" fmla="*/ 85011183 h 380"/>
                <a:gd name="T90" fmla="*/ 32834185 w 246"/>
                <a:gd name="T91" fmla="*/ 87263412 h 380"/>
                <a:gd name="T92" fmla="*/ 29024379 w 246"/>
                <a:gd name="T93" fmla="*/ 89796839 h 380"/>
                <a:gd name="T94" fmla="*/ 25577877 w 246"/>
                <a:gd name="T95" fmla="*/ 92330265 h 380"/>
                <a:gd name="T96" fmla="*/ 21768497 w 246"/>
                <a:gd name="T97" fmla="*/ 95144889 h 380"/>
                <a:gd name="T98" fmla="*/ 18140130 w 246"/>
                <a:gd name="T99" fmla="*/ 97678846 h 380"/>
                <a:gd name="T100" fmla="*/ 14512189 w 246"/>
                <a:gd name="T101" fmla="*/ 100775197 h 380"/>
                <a:gd name="T102" fmla="*/ 13605417 w 246"/>
                <a:gd name="T103" fmla="*/ 102182243 h 380"/>
                <a:gd name="T104" fmla="*/ 12516779 w 246"/>
                <a:gd name="T105" fmla="*/ 103308623 h 380"/>
                <a:gd name="T106" fmla="*/ 11247128 w 246"/>
                <a:gd name="T107" fmla="*/ 104716201 h 380"/>
                <a:gd name="T108" fmla="*/ 9795611 w 246"/>
                <a:gd name="T109" fmla="*/ 105842050 h 380"/>
                <a:gd name="T110" fmla="*/ 8344520 w 246"/>
                <a:gd name="T111" fmla="*/ 106686172 h 380"/>
                <a:gd name="T112" fmla="*/ 6530549 w 246"/>
                <a:gd name="T113" fmla="*/ 106967899 h 380"/>
                <a:gd name="T114" fmla="*/ 5623351 w 246"/>
                <a:gd name="T115" fmla="*/ 106967899 h 380"/>
                <a:gd name="T116" fmla="*/ 4535139 w 246"/>
                <a:gd name="T117" fmla="*/ 106686172 h 380"/>
                <a:gd name="T118" fmla="*/ 3627941 w 246"/>
                <a:gd name="T119" fmla="*/ 106404975 h 380"/>
                <a:gd name="T120" fmla="*/ 2358289 w 246"/>
                <a:gd name="T121" fmla="*/ 10584205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63" name="Freeform 267"/>
            <p:cNvSpPr>
              <a:spLocks/>
            </p:cNvSpPr>
            <p:nvPr>
              <p:custDataLst>
                <p:tags r:id="rId186"/>
              </p:custDataLst>
            </p:nvPr>
          </p:nvSpPr>
          <p:spPr bwMode="auto">
            <a:xfrm>
              <a:off x="3605213" y="3762375"/>
              <a:ext cx="87312"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47364" name="Freeform 268"/>
            <p:cNvSpPr>
              <a:spLocks/>
            </p:cNvSpPr>
            <p:nvPr>
              <p:custDataLst>
                <p:tags r:id="rId187"/>
              </p:custDataLst>
            </p:nvPr>
          </p:nvSpPr>
          <p:spPr bwMode="auto">
            <a:xfrm>
              <a:off x="4030663" y="3840163"/>
              <a:ext cx="42862"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47365" name="Freeform 269"/>
            <p:cNvSpPr>
              <a:spLocks/>
            </p:cNvSpPr>
            <p:nvPr>
              <p:custDataLst>
                <p:tags r:id="rId188"/>
              </p:custDataLst>
            </p:nvPr>
          </p:nvSpPr>
          <p:spPr bwMode="auto">
            <a:xfrm>
              <a:off x="4056063" y="380206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47366" name="Freeform 270"/>
            <p:cNvSpPr>
              <a:spLocks/>
            </p:cNvSpPr>
            <p:nvPr>
              <p:custDataLst>
                <p:tags r:id="rId189"/>
              </p:custDataLst>
            </p:nvPr>
          </p:nvSpPr>
          <p:spPr bwMode="auto">
            <a:xfrm>
              <a:off x="4784725" y="500697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47367" name="Freeform 271"/>
            <p:cNvSpPr>
              <a:spLocks/>
            </p:cNvSpPr>
            <p:nvPr>
              <p:custDataLst>
                <p:tags r:id="rId190"/>
              </p:custDataLst>
            </p:nvPr>
          </p:nvSpPr>
          <p:spPr bwMode="auto">
            <a:xfrm>
              <a:off x="4679950" y="5103813"/>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47368" name="Freeform 272"/>
            <p:cNvSpPr>
              <a:spLocks/>
            </p:cNvSpPr>
            <p:nvPr>
              <p:custDataLst>
                <p:tags r:id="rId191"/>
              </p:custDataLst>
            </p:nvPr>
          </p:nvSpPr>
          <p:spPr bwMode="auto">
            <a:xfrm>
              <a:off x="6897688" y="281781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a:p>
          </p:txBody>
        </p:sp>
        <p:sp>
          <p:nvSpPr>
            <p:cNvPr id="265" name="Freeform 273"/>
            <p:cNvSpPr>
              <a:spLocks/>
            </p:cNvSpPr>
            <p:nvPr>
              <p:custDataLst>
                <p:tags r:id="rId192"/>
              </p:custDataLst>
            </p:nvPr>
          </p:nvSpPr>
          <p:spPr bwMode="auto">
            <a:xfrm>
              <a:off x="5969000" y="3232150"/>
              <a:ext cx="206375" cy="123825"/>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70" name="Freeform 274"/>
            <p:cNvSpPr>
              <a:spLocks/>
            </p:cNvSpPr>
            <p:nvPr>
              <p:custDataLst>
                <p:tags r:id="rId193"/>
              </p:custDataLst>
            </p:nvPr>
          </p:nvSpPr>
          <p:spPr bwMode="auto">
            <a:xfrm>
              <a:off x="6184900" y="328771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a:p>
          </p:txBody>
        </p:sp>
        <p:sp>
          <p:nvSpPr>
            <p:cNvPr id="267" name="Freeform 275"/>
            <p:cNvSpPr>
              <a:spLocks/>
            </p:cNvSpPr>
            <p:nvPr>
              <p:custDataLst>
                <p:tags r:id="rId194"/>
              </p:custDataLst>
            </p:nvPr>
          </p:nvSpPr>
          <p:spPr bwMode="auto">
            <a:xfrm>
              <a:off x="6175375" y="3359150"/>
              <a:ext cx="133350" cy="166688"/>
            </a:xfrm>
            <a:custGeom>
              <a:avLst/>
              <a:gdLst>
                <a:gd name="T0" fmla="*/ 49186104 w 306"/>
                <a:gd name="T1" fmla="*/ 43143373 h 321"/>
                <a:gd name="T2" fmla="*/ 47856962 w 306"/>
                <a:gd name="T3" fmla="*/ 46648473 h 321"/>
                <a:gd name="T4" fmla="*/ 46147816 w 306"/>
                <a:gd name="T5" fmla="*/ 49075561 h 321"/>
                <a:gd name="T6" fmla="*/ 44248668 w 306"/>
                <a:gd name="T7" fmla="*/ 50154093 h 321"/>
                <a:gd name="T8" fmla="*/ 42349520 w 306"/>
                <a:gd name="T9" fmla="*/ 49614567 h 321"/>
                <a:gd name="T10" fmla="*/ 40640374 w 306"/>
                <a:gd name="T11" fmla="*/ 47997028 h 321"/>
                <a:gd name="T12" fmla="*/ 39690800 w 306"/>
                <a:gd name="T13" fmla="*/ 45569941 h 321"/>
                <a:gd name="T14" fmla="*/ 39121229 w 306"/>
                <a:gd name="T15" fmla="*/ 43143373 h 321"/>
                <a:gd name="T16" fmla="*/ 39690800 w 306"/>
                <a:gd name="T17" fmla="*/ 39907776 h 321"/>
                <a:gd name="T18" fmla="*/ 40450372 w 306"/>
                <a:gd name="T19" fmla="*/ 36671659 h 321"/>
                <a:gd name="T20" fmla="*/ 43678662 w 306"/>
                <a:gd name="T21" fmla="*/ 30739471 h 321"/>
                <a:gd name="T22" fmla="*/ 46717386 w 306"/>
                <a:gd name="T23" fmla="*/ 25076787 h 321"/>
                <a:gd name="T24" fmla="*/ 47476958 w 306"/>
                <a:gd name="T25" fmla="*/ 22110693 h 321"/>
                <a:gd name="T26" fmla="*/ 48046528 w 306"/>
                <a:gd name="T27" fmla="*/ 18605593 h 321"/>
                <a:gd name="T28" fmla="*/ 24498051 w 306"/>
                <a:gd name="T29" fmla="*/ 18336089 h 321"/>
                <a:gd name="T30" fmla="*/ 22598903 w 306"/>
                <a:gd name="T31" fmla="*/ 15909002 h 321"/>
                <a:gd name="T32" fmla="*/ 21269761 w 306"/>
                <a:gd name="T33" fmla="*/ 12133879 h 321"/>
                <a:gd name="T34" fmla="*/ 20510189 w 306"/>
                <a:gd name="T35" fmla="*/ 7550246 h 321"/>
                <a:gd name="T36" fmla="*/ 19180611 w 306"/>
                <a:gd name="T37" fmla="*/ 5123159 h 321"/>
                <a:gd name="T38" fmla="*/ 17091897 w 306"/>
                <a:gd name="T39" fmla="*/ 4584152 h 321"/>
                <a:gd name="T40" fmla="*/ 15192749 w 306"/>
                <a:gd name="T41" fmla="*/ 3235597 h 321"/>
                <a:gd name="T42" fmla="*/ 14243175 w 306"/>
                <a:gd name="T43" fmla="*/ 1078532 h 321"/>
                <a:gd name="T44" fmla="*/ 12344026 w 306"/>
                <a:gd name="T45" fmla="*/ 0 h 321"/>
                <a:gd name="T46" fmla="*/ 9305302 w 306"/>
                <a:gd name="T47" fmla="*/ 0 h 321"/>
                <a:gd name="T48" fmla="*/ 6457016 w 306"/>
                <a:gd name="T49" fmla="*/ 269503 h 321"/>
                <a:gd name="T50" fmla="*/ 4177864 w 306"/>
                <a:gd name="T51" fmla="*/ 1348036 h 321"/>
                <a:gd name="T52" fmla="*/ 1899148 w 306"/>
                <a:gd name="T53" fmla="*/ 3775123 h 321"/>
                <a:gd name="T54" fmla="*/ 190002 w 306"/>
                <a:gd name="T55" fmla="*/ 6741217 h 321"/>
                <a:gd name="T56" fmla="*/ 380004 w 306"/>
                <a:gd name="T57" fmla="*/ 9437808 h 321"/>
                <a:gd name="T58" fmla="*/ 2848722 w 306"/>
                <a:gd name="T59" fmla="*/ 12403901 h 321"/>
                <a:gd name="T60" fmla="*/ 6646582 w 306"/>
                <a:gd name="T61" fmla="*/ 15639499 h 321"/>
                <a:gd name="T62" fmla="*/ 10254876 w 306"/>
                <a:gd name="T63" fmla="*/ 18066067 h 321"/>
                <a:gd name="T64" fmla="*/ 8925734 w 306"/>
                <a:gd name="T65" fmla="*/ 21302183 h 321"/>
                <a:gd name="T66" fmla="*/ 4747870 w 306"/>
                <a:gd name="T67" fmla="*/ 26155839 h 321"/>
                <a:gd name="T68" fmla="*/ 3228290 w 306"/>
                <a:gd name="T69" fmla="*/ 28851910 h 321"/>
                <a:gd name="T70" fmla="*/ 2658720 w 306"/>
                <a:gd name="T71" fmla="*/ 30739471 h 321"/>
                <a:gd name="T72" fmla="*/ 2658720 w 306"/>
                <a:gd name="T73" fmla="*/ 32896536 h 321"/>
                <a:gd name="T74" fmla="*/ 3418292 w 306"/>
                <a:gd name="T75" fmla="*/ 34784098 h 321"/>
                <a:gd name="T76" fmla="*/ 5317440 w 306"/>
                <a:gd name="T77" fmla="*/ 38020214 h 321"/>
                <a:gd name="T78" fmla="*/ 8925734 w 306"/>
                <a:gd name="T79" fmla="*/ 42064841 h 321"/>
                <a:gd name="T80" fmla="*/ 12154025 w 306"/>
                <a:gd name="T81" fmla="*/ 44221905 h 321"/>
                <a:gd name="T82" fmla="*/ 14243175 w 306"/>
                <a:gd name="T83" fmla="*/ 44761431 h 321"/>
                <a:gd name="T84" fmla="*/ 20320187 w 306"/>
                <a:gd name="T85" fmla="*/ 73073815 h 321"/>
                <a:gd name="T86" fmla="*/ 20510189 w 306"/>
                <a:gd name="T87" fmla="*/ 70916750 h 321"/>
                <a:gd name="T88" fmla="*/ 21269761 w 306"/>
                <a:gd name="T89" fmla="*/ 69029189 h 321"/>
                <a:gd name="T90" fmla="*/ 24118483 w 306"/>
                <a:gd name="T91" fmla="*/ 66332598 h 321"/>
                <a:gd name="T92" fmla="*/ 28106345 w 306"/>
                <a:gd name="T93" fmla="*/ 64715059 h 321"/>
                <a:gd name="T94" fmla="*/ 33043781 w 306"/>
                <a:gd name="T95" fmla="*/ 63366504 h 321"/>
                <a:gd name="T96" fmla="*/ 33043781 w 306"/>
                <a:gd name="T97" fmla="*/ 56625807 h 321"/>
                <a:gd name="T98" fmla="*/ 34753363 w 306"/>
                <a:gd name="T99" fmla="*/ 57164813 h 321"/>
                <a:gd name="T100" fmla="*/ 36652075 w 306"/>
                <a:gd name="T101" fmla="*/ 57164813 h 321"/>
                <a:gd name="T102" fmla="*/ 40450372 w 306"/>
                <a:gd name="T103" fmla="*/ 56625807 h 321"/>
                <a:gd name="T104" fmla="*/ 44058666 w 306"/>
                <a:gd name="T105" fmla="*/ 70377744 h 321"/>
                <a:gd name="T106" fmla="*/ 49186104 w 306"/>
                <a:gd name="T107" fmla="*/ 86556249 h 321"/>
                <a:gd name="T108" fmla="*/ 51654822 w 306"/>
                <a:gd name="T109" fmla="*/ 83859658 h 321"/>
                <a:gd name="T110" fmla="*/ 53553970 w 306"/>
                <a:gd name="T111" fmla="*/ 81433090 h 321"/>
                <a:gd name="T112" fmla="*/ 56022688 w 306"/>
                <a:gd name="T113" fmla="*/ 75500903 h 321"/>
                <a:gd name="T114" fmla="*/ 58111838 w 306"/>
                <a:gd name="T115" fmla="*/ 633665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72" name="Freeform 276"/>
            <p:cNvSpPr>
              <a:spLocks/>
            </p:cNvSpPr>
            <p:nvPr>
              <p:custDataLst>
                <p:tags r:id="rId195"/>
              </p:custDataLst>
            </p:nvPr>
          </p:nvSpPr>
          <p:spPr bwMode="auto">
            <a:xfrm>
              <a:off x="6492875" y="3475038"/>
              <a:ext cx="201613"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69" name="Freeform 277"/>
            <p:cNvSpPr>
              <a:spLocks/>
            </p:cNvSpPr>
            <p:nvPr>
              <p:custDataLst>
                <p:tags r:id="rId196"/>
              </p:custDataLst>
            </p:nvPr>
          </p:nvSpPr>
          <p:spPr bwMode="auto">
            <a:xfrm>
              <a:off x="6575425" y="3725863"/>
              <a:ext cx="133350" cy="130175"/>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374" name="Freeform 278"/>
            <p:cNvSpPr>
              <a:spLocks/>
            </p:cNvSpPr>
            <p:nvPr>
              <p:custDataLst>
                <p:tags r:id="rId197"/>
              </p:custDataLst>
            </p:nvPr>
          </p:nvSpPr>
          <p:spPr bwMode="auto">
            <a:xfrm>
              <a:off x="6977063" y="296227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a:p>
          </p:txBody>
        </p:sp>
        <p:sp>
          <p:nvSpPr>
            <p:cNvPr id="47375" name="Freeform 279"/>
            <p:cNvSpPr>
              <a:spLocks/>
            </p:cNvSpPr>
            <p:nvPr>
              <p:custDataLst>
                <p:tags r:id="rId198"/>
              </p:custDataLst>
            </p:nvPr>
          </p:nvSpPr>
          <p:spPr bwMode="auto">
            <a:xfrm>
              <a:off x="7545388" y="425926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7376" name="Freeform 280"/>
            <p:cNvSpPr>
              <a:spLocks/>
            </p:cNvSpPr>
            <p:nvPr>
              <p:custDataLst>
                <p:tags r:id="rId199"/>
              </p:custDataLst>
            </p:nvPr>
          </p:nvSpPr>
          <p:spPr bwMode="auto">
            <a:xfrm>
              <a:off x="7737475" y="4243388"/>
              <a:ext cx="106363"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47377" name="Freeform 281"/>
            <p:cNvSpPr>
              <a:spLocks/>
            </p:cNvSpPr>
            <p:nvPr>
              <p:custDataLst>
                <p:tags r:id="rId200"/>
              </p:custDataLst>
            </p:nvPr>
          </p:nvSpPr>
          <p:spPr bwMode="auto">
            <a:xfrm>
              <a:off x="6013450" y="387667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a:p>
          </p:txBody>
        </p:sp>
        <p:sp>
          <p:nvSpPr>
            <p:cNvPr id="47378" name="Freeform 283"/>
            <p:cNvSpPr>
              <a:spLocks/>
            </p:cNvSpPr>
            <p:nvPr/>
          </p:nvSpPr>
          <p:spPr bwMode="auto">
            <a:xfrm>
              <a:off x="7073900" y="3830638"/>
              <a:ext cx="25400" cy="58737"/>
            </a:xfrm>
            <a:custGeom>
              <a:avLst/>
              <a:gdLst>
                <a:gd name="T0" fmla="*/ 2147483647 w 60"/>
                <a:gd name="T1" fmla="*/ 2147483647 h 110"/>
                <a:gd name="T2" fmla="*/ 2147483647 w 60"/>
                <a:gd name="T3" fmla="*/ 2147483647 h 110"/>
                <a:gd name="T4" fmla="*/ 2147483647 w 60"/>
                <a:gd name="T5" fmla="*/ 2147483647 h 110"/>
                <a:gd name="T6" fmla="*/ 2147483647 w 60"/>
                <a:gd name="T7" fmla="*/ 2147483647 h 110"/>
                <a:gd name="T8" fmla="*/ 2147483647 w 60"/>
                <a:gd name="T9" fmla="*/ 2147483647 h 110"/>
                <a:gd name="T10" fmla="*/ 2147483647 w 60"/>
                <a:gd name="T11" fmla="*/ 2147483647 h 110"/>
                <a:gd name="T12" fmla="*/ 2147483647 w 60"/>
                <a:gd name="T13" fmla="*/ 2147483647 h 110"/>
                <a:gd name="T14" fmla="*/ 2147483647 w 60"/>
                <a:gd name="T15" fmla="*/ 2147483647 h 110"/>
                <a:gd name="T16" fmla="*/ 2147483647 w 60"/>
                <a:gd name="T17" fmla="*/ 2147483647 h 110"/>
                <a:gd name="T18" fmla="*/ 2147483647 w 60"/>
                <a:gd name="T19" fmla="*/ 2147483647 h 110"/>
                <a:gd name="T20" fmla="*/ 2147483647 w 60"/>
                <a:gd name="T21" fmla="*/ 2147483647 h 110"/>
                <a:gd name="T22" fmla="*/ 2147483647 w 60"/>
                <a:gd name="T23" fmla="*/ 2147483647 h 110"/>
                <a:gd name="T24" fmla="*/ 2147483647 w 60"/>
                <a:gd name="T25" fmla="*/ 2147483647 h 110"/>
                <a:gd name="T26" fmla="*/ 2147483647 w 60"/>
                <a:gd name="T27" fmla="*/ 2147483647 h 110"/>
                <a:gd name="T28" fmla="*/ 2147483647 w 60"/>
                <a:gd name="T29" fmla="*/ 2147483647 h 110"/>
                <a:gd name="T30" fmla="*/ 2147483647 w 60"/>
                <a:gd name="T31" fmla="*/ 2147483647 h 110"/>
                <a:gd name="T32" fmla="*/ 2147483647 w 60"/>
                <a:gd name="T33" fmla="*/ 0 h 110"/>
                <a:gd name="T34" fmla="*/ 2147483647 w 60"/>
                <a:gd name="T35" fmla="*/ 2147483647 h 110"/>
                <a:gd name="T36" fmla="*/ 2147483647 w 60"/>
                <a:gd name="T37" fmla="*/ 2147483647 h 110"/>
                <a:gd name="T38" fmla="*/ 2147483647 w 60"/>
                <a:gd name="T39" fmla="*/ 2147483647 h 110"/>
                <a:gd name="T40" fmla="*/ 2147483647 w 60"/>
                <a:gd name="T41" fmla="*/ 2147483647 h 110"/>
                <a:gd name="T42" fmla="*/ 2147483647 w 60"/>
                <a:gd name="T43" fmla="*/ 2147483647 h 110"/>
                <a:gd name="T44" fmla="*/ 2147483647 w 60"/>
                <a:gd name="T45" fmla="*/ 2147483647 h 110"/>
                <a:gd name="T46" fmla="*/ 2147483647 w 60"/>
                <a:gd name="T47" fmla="*/ 2147483647 h 110"/>
                <a:gd name="T48" fmla="*/ 2147483647 w 60"/>
                <a:gd name="T49" fmla="*/ 2147483647 h 110"/>
                <a:gd name="T50" fmla="*/ 2147483647 w 60"/>
                <a:gd name="T51" fmla="*/ 2147483647 h 110"/>
                <a:gd name="T52" fmla="*/ 2147483647 w 60"/>
                <a:gd name="T53" fmla="*/ 2147483647 h 110"/>
                <a:gd name="T54" fmla="*/ 2147483647 w 60"/>
                <a:gd name="T55" fmla="*/ 2147483647 h 110"/>
                <a:gd name="T56" fmla="*/ 0 w 60"/>
                <a:gd name="T57" fmla="*/ 2147483647 h 110"/>
                <a:gd name="T58" fmla="*/ 2147483647 w 60"/>
                <a:gd name="T59" fmla="*/ 2147483647 h 110"/>
                <a:gd name="T60" fmla="*/ 2147483647 w 60"/>
                <a:gd name="T61" fmla="*/ 2147483647 h 110"/>
                <a:gd name="T62" fmla="*/ 2147483647 w 60"/>
                <a:gd name="T63" fmla="*/ 2147483647 h 110"/>
                <a:gd name="T64" fmla="*/ 2147483647 w 60"/>
                <a:gd name="T65" fmla="*/ 2147483647 h 110"/>
                <a:gd name="T66" fmla="*/ 2147483647 w 60"/>
                <a:gd name="T67" fmla="*/ 2147483647 h 110"/>
                <a:gd name="T68" fmla="*/ 2147483647 w 60"/>
                <a:gd name="T69" fmla="*/ 2147483647 h 110"/>
                <a:gd name="T70" fmla="*/ 2147483647 w 60"/>
                <a:gd name="T71" fmla="*/ 2147483647 h 110"/>
                <a:gd name="T72" fmla="*/ 2147483647 w 60"/>
                <a:gd name="T73" fmla="*/ 214748364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47379" name="Freeform 284"/>
            <p:cNvSpPr>
              <a:spLocks/>
            </p:cNvSpPr>
            <p:nvPr/>
          </p:nvSpPr>
          <p:spPr bwMode="auto">
            <a:xfrm>
              <a:off x="7119938" y="3787775"/>
              <a:ext cx="31750" cy="39688"/>
            </a:xfrm>
            <a:custGeom>
              <a:avLst/>
              <a:gdLst>
                <a:gd name="T0" fmla="*/ 0 w 72"/>
                <a:gd name="T1" fmla="*/ 2147483647 h 75"/>
                <a:gd name="T2" fmla="*/ 2147483647 w 72"/>
                <a:gd name="T3" fmla="*/ 2147483647 h 75"/>
                <a:gd name="T4" fmla="*/ 2147483647 w 72"/>
                <a:gd name="T5" fmla="*/ 2147483647 h 75"/>
                <a:gd name="T6" fmla="*/ 2147483647 w 72"/>
                <a:gd name="T7" fmla="*/ 2147483647 h 75"/>
                <a:gd name="T8" fmla="*/ 2147483647 w 72"/>
                <a:gd name="T9" fmla="*/ 2147483647 h 75"/>
                <a:gd name="T10" fmla="*/ 2147483647 w 72"/>
                <a:gd name="T11" fmla="*/ 2147483647 h 75"/>
                <a:gd name="T12" fmla="*/ 2147483647 w 72"/>
                <a:gd name="T13" fmla="*/ 2147483647 h 75"/>
                <a:gd name="T14" fmla="*/ 2147483647 w 72"/>
                <a:gd name="T15" fmla="*/ 2147483647 h 75"/>
                <a:gd name="T16" fmla="*/ 2147483647 w 72"/>
                <a:gd name="T17" fmla="*/ 2147483647 h 75"/>
                <a:gd name="T18" fmla="*/ 2147483647 w 72"/>
                <a:gd name="T19" fmla="*/ 2147483647 h 75"/>
                <a:gd name="T20" fmla="*/ 2147483647 w 72"/>
                <a:gd name="T21" fmla="*/ 2147483647 h 75"/>
                <a:gd name="T22" fmla="*/ 2147483647 w 72"/>
                <a:gd name="T23" fmla="*/ 2147483647 h 75"/>
                <a:gd name="T24" fmla="*/ 2147483647 w 72"/>
                <a:gd name="T25" fmla="*/ 2147483647 h 75"/>
                <a:gd name="T26" fmla="*/ 2147483647 w 72"/>
                <a:gd name="T27" fmla="*/ 2147483647 h 75"/>
                <a:gd name="T28" fmla="*/ 2147483647 w 72"/>
                <a:gd name="T29" fmla="*/ 2147483647 h 75"/>
                <a:gd name="T30" fmla="*/ 2147483647 w 72"/>
                <a:gd name="T31" fmla="*/ 2147483647 h 75"/>
                <a:gd name="T32" fmla="*/ 2147483647 w 72"/>
                <a:gd name="T33" fmla="*/ 0 h 75"/>
                <a:gd name="T34" fmla="*/ 2147483647 w 72"/>
                <a:gd name="T35" fmla="*/ 0 h 75"/>
                <a:gd name="T36" fmla="*/ 2147483647 w 72"/>
                <a:gd name="T37" fmla="*/ 2147483647 h 75"/>
                <a:gd name="T38" fmla="*/ 2147483647 w 72"/>
                <a:gd name="T39" fmla="*/ 2147483647 h 75"/>
                <a:gd name="T40" fmla="*/ 2147483647 w 72"/>
                <a:gd name="T41" fmla="*/ 2147483647 h 75"/>
                <a:gd name="T42" fmla="*/ 2147483647 w 72"/>
                <a:gd name="T43" fmla="*/ 2147483647 h 75"/>
                <a:gd name="T44" fmla="*/ 2147483647 w 72"/>
                <a:gd name="T45" fmla="*/ 2147483647 h 75"/>
                <a:gd name="T46" fmla="*/ 0 w 72"/>
                <a:gd name="T47" fmla="*/ 2147483647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47380" name="Freeform 285"/>
            <p:cNvSpPr>
              <a:spLocks/>
            </p:cNvSpPr>
            <p:nvPr/>
          </p:nvSpPr>
          <p:spPr bwMode="auto">
            <a:xfrm>
              <a:off x="7081838" y="3735388"/>
              <a:ext cx="7937" cy="25400"/>
            </a:xfrm>
            <a:custGeom>
              <a:avLst/>
              <a:gdLst>
                <a:gd name="T0" fmla="*/ 2147483647 w 15"/>
                <a:gd name="T1" fmla="*/ 2147483647 h 49"/>
                <a:gd name="T2" fmla="*/ 2147483647 w 15"/>
                <a:gd name="T3" fmla="*/ 2147483647 h 49"/>
                <a:gd name="T4" fmla="*/ 2147483647 w 15"/>
                <a:gd name="T5" fmla="*/ 2147483647 h 49"/>
                <a:gd name="T6" fmla="*/ 2147483647 w 15"/>
                <a:gd name="T7" fmla="*/ 2147483647 h 49"/>
                <a:gd name="T8" fmla="*/ 2147483647 w 15"/>
                <a:gd name="T9" fmla="*/ 2147483647 h 49"/>
                <a:gd name="T10" fmla="*/ 2147483647 w 15"/>
                <a:gd name="T11" fmla="*/ 2147483647 h 49"/>
                <a:gd name="T12" fmla="*/ 2147483647 w 15"/>
                <a:gd name="T13" fmla="*/ 0 h 49"/>
                <a:gd name="T14" fmla="*/ 2147483647 w 15"/>
                <a:gd name="T15" fmla="*/ 2147483647 h 49"/>
                <a:gd name="T16" fmla="*/ 2147483647 w 15"/>
                <a:gd name="T17" fmla="*/ 2147483647 h 49"/>
                <a:gd name="T18" fmla="*/ 0 w 15"/>
                <a:gd name="T19" fmla="*/ 2147483647 h 49"/>
                <a:gd name="T20" fmla="*/ 0 w 15"/>
                <a:gd name="T21" fmla="*/ 2147483647 h 49"/>
                <a:gd name="T22" fmla="*/ 2147483647 w 15"/>
                <a:gd name="T23" fmla="*/ 2147483647 h 49"/>
                <a:gd name="T24" fmla="*/ 2147483647 w 15"/>
                <a:gd name="T25" fmla="*/ 2147483647 h 49"/>
                <a:gd name="T26" fmla="*/ 2147483647 w 15"/>
                <a:gd name="T27" fmla="*/ 2147483647 h 49"/>
                <a:gd name="T28" fmla="*/ 2147483647 w 15"/>
                <a:gd name="T29" fmla="*/ 2147483647 h 49"/>
                <a:gd name="T30" fmla="*/ 2147483647 w 15"/>
                <a:gd name="T31" fmla="*/ 2147483647 h 49"/>
                <a:gd name="T32" fmla="*/ 2147483647 w 15"/>
                <a:gd name="T33" fmla="*/ 2147483647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47381" name="Freeform 286"/>
            <p:cNvSpPr>
              <a:spLocks/>
            </p:cNvSpPr>
            <p:nvPr/>
          </p:nvSpPr>
          <p:spPr bwMode="auto">
            <a:xfrm>
              <a:off x="7054850" y="3732213"/>
              <a:ext cx="19050" cy="20637"/>
            </a:xfrm>
            <a:custGeom>
              <a:avLst/>
              <a:gdLst>
                <a:gd name="T0" fmla="*/ 2147483647 w 47"/>
                <a:gd name="T1" fmla="*/ 2147483647 h 40"/>
                <a:gd name="T2" fmla="*/ 0 w 47"/>
                <a:gd name="T3" fmla="*/ 2147483647 h 40"/>
                <a:gd name="T4" fmla="*/ 2147483647 w 47"/>
                <a:gd name="T5" fmla="*/ 2147483647 h 40"/>
                <a:gd name="T6" fmla="*/ 2147483647 w 47"/>
                <a:gd name="T7" fmla="*/ 2147483647 h 40"/>
                <a:gd name="T8" fmla="*/ 2147483647 w 47"/>
                <a:gd name="T9" fmla="*/ 2147483647 h 40"/>
                <a:gd name="T10" fmla="*/ 2147483647 w 47"/>
                <a:gd name="T11" fmla="*/ 2147483647 h 40"/>
                <a:gd name="T12" fmla="*/ 2147483647 w 47"/>
                <a:gd name="T13" fmla="*/ 2147483647 h 40"/>
                <a:gd name="T14" fmla="*/ 2147483647 w 47"/>
                <a:gd name="T15" fmla="*/ 2147483647 h 40"/>
                <a:gd name="T16" fmla="*/ 2147483647 w 47"/>
                <a:gd name="T17" fmla="*/ 2147483647 h 40"/>
                <a:gd name="T18" fmla="*/ 2147483647 w 47"/>
                <a:gd name="T19" fmla="*/ 2147483647 h 40"/>
                <a:gd name="T20" fmla="*/ 2147483647 w 47"/>
                <a:gd name="T21" fmla="*/ 0 h 40"/>
                <a:gd name="T22" fmla="*/ 2147483647 w 47"/>
                <a:gd name="T23" fmla="*/ 0 h 40"/>
                <a:gd name="T24" fmla="*/ 2147483647 w 47"/>
                <a:gd name="T25" fmla="*/ 2147483647 h 40"/>
                <a:gd name="T26" fmla="*/ 2147483647 w 47"/>
                <a:gd name="T27" fmla="*/ 2147483647 h 40"/>
                <a:gd name="T28" fmla="*/ 2147483647 w 47"/>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47382" name="Freeform 287"/>
            <p:cNvSpPr>
              <a:spLocks/>
            </p:cNvSpPr>
            <p:nvPr/>
          </p:nvSpPr>
          <p:spPr bwMode="auto">
            <a:xfrm>
              <a:off x="7113588" y="3856038"/>
              <a:ext cx="17462" cy="15875"/>
            </a:xfrm>
            <a:custGeom>
              <a:avLst/>
              <a:gdLst>
                <a:gd name="T0" fmla="*/ 0 w 39"/>
                <a:gd name="T1" fmla="*/ 0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2147483647 h 31"/>
                <a:gd name="T16" fmla="*/ 2147483647 w 39"/>
                <a:gd name="T17" fmla="*/ 2147483647 h 31"/>
                <a:gd name="T18" fmla="*/ 2147483647 w 39"/>
                <a:gd name="T19" fmla="*/ 2147483647 h 31"/>
                <a:gd name="T20" fmla="*/ 2147483647 w 39"/>
                <a:gd name="T21" fmla="*/ 2147483647 h 31"/>
                <a:gd name="T22" fmla="*/ 2147483647 w 39"/>
                <a:gd name="T23" fmla="*/ 2147483647 h 31"/>
                <a:gd name="T24" fmla="*/ 2147483647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47383" name="Freeform 288"/>
            <p:cNvSpPr>
              <a:spLocks/>
            </p:cNvSpPr>
            <p:nvPr/>
          </p:nvSpPr>
          <p:spPr bwMode="auto">
            <a:xfrm>
              <a:off x="7097713" y="3768725"/>
              <a:ext cx="14287" cy="9525"/>
            </a:xfrm>
            <a:custGeom>
              <a:avLst/>
              <a:gdLst>
                <a:gd name="T0" fmla="*/ 0 w 34"/>
                <a:gd name="T1" fmla="*/ 0 h 19"/>
                <a:gd name="T2" fmla="*/ 2147483647 w 34"/>
                <a:gd name="T3" fmla="*/ 2147483647 h 19"/>
                <a:gd name="T4" fmla="*/ 2147483647 w 34"/>
                <a:gd name="T5" fmla="*/ 0 h 19"/>
                <a:gd name="T6" fmla="*/ 2147483647 w 34"/>
                <a:gd name="T7" fmla="*/ 0 h 19"/>
                <a:gd name="T8" fmla="*/ 2147483647 w 34"/>
                <a:gd name="T9" fmla="*/ 0 h 19"/>
                <a:gd name="T10" fmla="*/ 2147483647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384" name="Freeform 289"/>
            <p:cNvSpPr>
              <a:spLocks/>
            </p:cNvSpPr>
            <p:nvPr/>
          </p:nvSpPr>
          <p:spPr bwMode="auto">
            <a:xfrm>
              <a:off x="7108825" y="3865563"/>
              <a:ext cx="7938" cy="6350"/>
            </a:xfrm>
            <a:custGeom>
              <a:avLst/>
              <a:gdLst>
                <a:gd name="T0" fmla="*/ 0 w 19"/>
                <a:gd name="T1" fmla="*/ 0 h 12"/>
                <a:gd name="T2" fmla="*/ 2147483647 w 19"/>
                <a:gd name="T3" fmla="*/ 2147483647 h 12"/>
                <a:gd name="T4" fmla="*/ 2147483647 w 19"/>
                <a:gd name="T5" fmla="*/ 2147483647 h 12"/>
                <a:gd name="T6" fmla="*/ 2147483647 w 19"/>
                <a:gd name="T7" fmla="*/ 2147483647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47385" name="Freeform 290"/>
            <p:cNvSpPr>
              <a:spLocks/>
            </p:cNvSpPr>
            <p:nvPr/>
          </p:nvSpPr>
          <p:spPr bwMode="auto">
            <a:xfrm>
              <a:off x="6953250" y="3827463"/>
              <a:ext cx="55563" cy="87312"/>
            </a:xfrm>
            <a:custGeom>
              <a:avLst/>
              <a:gdLst>
                <a:gd name="T0" fmla="*/ 2147483647 w 126"/>
                <a:gd name="T1" fmla="*/ 0 h 166"/>
                <a:gd name="T2" fmla="*/ 2147483647 w 126"/>
                <a:gd name="T3" fmla="*/ 2147483647 h 166"/>
                <a:gd name="T4" fmla="*/ 2147483647 w 126"/>
                <a:gd name="T5" fmla="*/ 2147483647 h 166"/>
                <a:gd name="T6" fmla="*/ 2147483647 w 126"/>
                <a:gd name="T7" fmla="*/ 2147483647 h 166"/>
                <a:gd name="T8" fmla="*/ 2147483647 w 126"/>
                <a:gd name="T9" fmla="*/ 2147483647 h 166"/>
                <a:gd name="T10" fmla="*/ 2147483647 w 126"/>
                <a:gd name="T11" fmla="*/ 2147483647 h 166"/>
                <a:gd name="T12" fmla="*/ 2147483647 w 126"/>
                <a:gd name="T13" fmla="*/ 2147483647 h 166"/>
                <a:gd name="T14" fmla="*/ 2147483647 w 126"/>
                <a:gd name="T15" fmla="*/ 2147483647 h 166"/>
                <a:gd name="T16" fmla="*/ 2147483647 w 126"/>
                <a:gd name="T17" fmla="*/ 2147483647 h 166"/>
                <a:gd name="T18" fmla="*/ 2147483647 w 126"/>
                <a:gd name="T19" fmla="*/ 2147483647 h 166"/>
                <a:gd name="T20" fmla="*/ 2147483647 w 126"/>
                <a:gd name="T21" fmla="*/ 2147483647 h 166"/>
                <a:gd name="T22" fmla="*/ 2147483647 w 126"/>
                <a:gd name="T23" fmla="*/ 2147483647 h 166"/>
                <a:gd name="T24" fmla="*/ 2147483647 w 126"/>
                <a:gd name="T25" fmla="*/ 2147483647 h 166"/>
                <a:gd name="T26" fmla="*/ 2147483647 w 126"/>
                <a:gd name="T27" fmla="*/ 2147483647 h 166"/>
                <a:gd name="T28" fmla="*/ 2147483647 w 126"/>
                <a:gd name="T29" fmla="*/ 2147483647 h 166"/>
                <a:gd name="T30" fmla="*/ 2147483647 w 126"/>
                <a:gd name="T31" fmla="*/ 2147483647 h 166"/>
                <a:gd name="T32" fmla="*/ 2147483647 w 126"/>
                <a:gd name="T33" fmla="*/ 2147483647 h 166"/>
                <a:gd name="T34" fmla="*/ 2147483647 w 126"/>
                <a:gd name="T35" fmla="*/ 2147483647 h 166"/>
                <a:gd name="T36" fmla="*/ 0 w 126"/>
                <a:gd name="T37" fmla="*/ 2147483647 h 166"/>
                <a:gd name="T38" fmla="*/ 0 w 126"/>
                <a:gd name="T39" fmla="*/ 2147483647 h 166"/>
                <a:gd name="T40" fmla="*/ 0 w 126"/>
                <a:gd name="T41" fmla="*/ 2147483647 h 166"/>
                <a:gd name="T42" fmla="*/ 0 w 126"/>
                <a:gd name="T43" fmla="*/ 2147483647 h 166"/>
                <a:gd name="T44" fmla="*/ 0 w 126"/>
                <a:gd name="T45" fmla="*/ 2147483647 h 166"/>
                <a:gd name="T46" fmla="*/ 2147483647 w 126"/>
                <a:gd name="T47" fmla="*/ 2147483647 h 166"/>
                <a:gd name="T48" fmla="*/ 2147483647 w 126"/>
                <a:gd name="T49" fmla="*/ 2147483647 h 166"/>
                <a:gd name="T50" fmla="*/ 2147483647 w 126"/>
                <a:gd name="T51" fmla="*/ 2147483647 h 166"/>
                <a:gd name="T52" fmla="*/ 2147483647 w 126"/>
                <a:gd name="T53" fmla="*/ 2147483647 h 166"/>
                <a:gd name="T54" fmla="*/ 2147483647 w 126"/>
                <a:gd name="T55" fmla="*/ 2147483647 h 166"/>
                <a:gd name="T56" fmla="*/ 2147483647 w 126"/>
                <a:gd name="T57" fmla="*/ 2147483647 h 166"/>
                <a:gd name="T58" fmla="*/ 2147483647 w 126"/>
                <a:gd name="T59" fmla="*/ 2147483647 h 166"/>
                <a:gd name="T60" fmla="*/ 2147483647 w 126"/>
                <a:gd name="T61" fmla="*/ 2147483647 h 166"/>
                <a:gd name="T62" fmla="*/ 2147483647 w 126"/>
                <a:gd name="T63" fmla="*/ 2147483647 h 166"/>
                <a:gd name="T64" fmla="*/ 2147483647 w 126"/>
                <a:gd name="T65" fmla="*/ 2147483647 h 166"/>
                <a:gd name="T66" fmla="*/ 2147483647 w 126"/>
                <a:gd name="T67" fmla="*/ 2147483647 h 166"/>
                <a:gd name="T68" fmla="*/ 2147483647 w 126"/>
                <a:gd name="T69" fmla="*/ 2147483647 h 166"/>
                <a:gd name="T70" fmla="*/ 2147483647 w 126"/>
                <a:gd name="T71" fmla="*/ 2147483647 h 166"/>
                <a:gd name="T72" fmla="*/ 2147483647 w 126"/>
                <a:gd name="T73" fmla="*/ 2147483647 h 166"/>
                <a:gd name="T74" fmla="*/ 2147483647 w 126"/>
                <a:gd name="T75" fmla="*/ 2147483647 h 166"/>
                <a:gd name="T76" fmla="*/ 2147483647 w 126"/>
                <a:gd name="T77" fmla="*/ 2147483647 h 166"/>
                <a:gd name="T78" fmla="*/ 2147483647 w 126"/>
                <a:gd name="T79" fmla="*/ 2147483647 h 166"/>
                <a:gd name="T80" fmla="*/ 2147483647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47386" name="Freeform 291"/>
            <p:cNvSpPr>
              <a:spLocks/>
            </p:cNvSpPr>
            <p:nvPr/>
          </p:nvSpPr>
          <p:spPr bwMode="auto">
            <a:xfrm>
              <a:off x="7073900" y="3856038"/>
              <a:ext cx="112713" cy="134937"/>
            </a:xfrm>
            <a:custGeom>
              <a:avLst/>
              <a:gdLst>
                <a:gd name="T0" fmla="*/ 2147483647 w 259"/>
                <a:gd name="T1" fmla="*/ 2147483647 h 259"/>
                <a:gd name="T2" fmla="*/ 2147483647 w 259"/>
                <a:gd name="T3" fmla="*/ 2147483647 h 259"/>
                <a:gd name="T4" fmla="*/ 0 w 259"/>
                <a:gd name="T5" fmla="*/ 2147483647 h 259"/>
                <a:gd name="T6" fmla="*/ 2147483647 w 259"/>
                <a:gd name="T7" fmla="*/ 2147483647 h 259"/>
                <a:gd name="T8" fmla="*/ 2147483647 w 259"/>
                <a:gd name="T9" fmla="*/ 2147483647 h 259"/>
                <a:gd name="T10" fmla="*/ 2147483647 w 259"/>
                <a:gd name="T11" fmla="*/ 2147483647 h 259"/>
                <a:gd name="T12" fmla="*/ 2147483647 w 259"/>
                <a:gd name="T13" fmla="*/ 2147483647 h 259"/>
                <a:gd name="T14" fmla="*/ 2147483647 w 259"/>
                <a:gd name="T15" fmla="*/ 2147483647 h 259"/>
                <a:gd name="T16" fmla="*/ 2147483647 w 259"/>
                <a:gd name="T17" fmla="*/ 2147483647 h 259"/>
                <a:gd name="T18" fmla="*/ 2147483647 w 259"/>
                <a:gd name="T19" fmla="*/ 2147483647 h 259"/>
                <a:gd name="T20" fmla="*/ 2147483647 w 259"/>
                <a:gd name="T21" fmla="*/ 2147483647 h 259"/>
                <a:gd name="T22" fmla="*/ 2147483647 w 259"/>
                <a:gd name="T23" fmla="*/ 2147483647 h 259"/>
                <a:gd name="T24" fmla="*/ 2147483647 w 259"/>
                <a:gd name="T25" fmla="*/ 2147483647 h 259"/>
                <a:gd name="T26" fmla="*/ 2147483647 w 259"/>
                <a:gd name="T27" fmla="*/ 2147483647 h 259"/>
                <a:gd name="T28" fmla="*/ 2147483647 w 259"/>
                <a:gd name="T29" fmla="*/ 2147483647 h 259"/>
                <a:gd name="T30" fmla="*/ 2147483647 w 259"/>
                <a:gd name="T31" fmla="*/ 2147483647 h 259"/>
                <a:gd name="T32" fmla="*/ 2147483647 w 259"/>
                <a:gd name="T33" fmla="*/ 2147483647 h 259"/>
                <a:gd name="T34" fmla="*/ 2147483647 w 259"/>
                <a:gd name="T35" fmla="*/ 2147483647 h 259"/>
                <a:gd name="T36" fmla="*/ 2147483647 w 259"/>
                <a:gd name="T37" fmla="*/ 2147483647 h 259"/>
                <a:gd name="T38" fmla="*/ 2147483647 w 259"/>
                <a:gd name="T39" fmla="*/ 2147483647 h 259"/>
                <a:gd name="T40" fmla="*/ 2147483647 w 259"/>
                <a:gd name="T41" fmla="*/ 2147483647 h 259"/>
                <a:gd name="T42" fmla="*/ 2147483647 w 259"/>
                <a:gd name="T43" fmla="*/ 2147483647 h 259"/>
                <a:gd name="T44" fmla="*/ 2147483647 w 259"/>
                <a:gd name="T45" fmla="*/ 2147483647 h 259"/>
                <a:gd name="T46" fmla="*/ 2147483647 w 259"/>
                <a:gd name="T47" fmla="*/ 2147483647 h 259"/>
                <a:gd name="T48" fmla="*/ 2147483647 w 259"/>
                <a:gd name="T49" fmla="*/ 2147483647 h 259"/>
                <a:gd name="T50" fmla="*/ 2147483647 w 259"/>
                <a:gd name="T51" fmla="*/ 2147483647 h 259"/>
                <a:gd name="T52" fmla="*/ 2147483647 w 259"/>
                <a:gd name="T53" fmla="*/ 2147483647 h 259"/>
                <a:gd name="T54" fmla="*/ 2147483647 w 259"/>
                <a:gd name="T55" fmla="*/ 2147483647 h 259"/>
                <a:gd name="T56" fmla="*/ 2147483647 w 259"/>
                <a:gd name="T57" fmla="*/ 2147483647 h 259"/>
                <a:gd name="T58" fmla="*/ 2147483647 w 259"/>
                <a:gd name="T59" fmla="*/ 2147483647 h 259"/>
                <a:gd name="T60" fmla="*/ 2147483647 w 259"/>
                <a:gd name="T61" fmla="*/ 2147483647 h 259"/>
                <a:gd name="T62" fmla="*/ 2147483647 w 259"/>
                <a:gd name="T63" fmla="*/ 2147483647 h 259"/>
                <a:gd name="T64" fmla="*/ 2147483647 w 259"/>
                <a:gd name="T65" fmla="*/ 2147483647 h 259"/>
                <a:gd name="T66" fmla="*/ 2147483647 w 259"/>
                <a:gd name="T67" fmla="*/ 2147483647 h 259"/>
                <a:gd name="T68" fmla="*/ 2147483647 w 259"/>
                <a:gd name="T69" fmla="*/ 2147483647 h 259"/>
                <a:gd name="T70" fmla="*/ 2147483647 w 259"/>
                <a:gd name="T71" fmla="*/ 2147483647 h 259"/>
                <a:gd name="T72" fmla="*/ 2147483647 w 259"/>
                <a:gd name="T73" fmla="*/ 2147483647 h 259"/>
                <a:gd name="T74" fmla="*/ 2147483647 w 259"/>
                <a:gd name="T75" fmla="*/ 2147483647 h 259"/>
                <a:gd name="T76" fmla="*/ 2147483647 w 259"/>
                <a:gd name="T77" fmla="*/ 2147483647 h 259"/>
                <a:gd name="T78" fmla="*/ 2147483647 w 259"/>
                <a:gd name="T79" fmla="*/ 2147483647 h 259"/>
                <a:gd name="T80" fmla="*/ 2147483647 w 259"/>
                <a:gd name="T81" fmla="*/ 2147483647 h 259"/>
                <a:gd name="T82" fmla="*/ 2147483647 w 259"/>
                <a:gd name="T83" fmla="*/ 2147483647 h 259"/>
                <a:gd name="T84" fmla="*/ 2147483647 w 259"/>
                <a:gd name="T85" fmla="*/ 2147483647 h 259"/>
                <a:gd name="T86" fmla="*/ 2147483647 w 259"/>
                <a:gd name="T87" fmla="*/ 2147483647 h 259"/>
                <a:gd name="T88" fmla="*/ 2147483647 w 259"/>
                <a:gd name="T89" fmla="*/ 2147483647 h 259"/>
                <a:gd name="T90" fmla="*/ 2147483647 w 259"/>
                <a:gd name="T91" fmla="*/ 2147483647 h 259"/>
                <a:gd name="T92" fmla="*/ 2147483647 w 259"/>
                <a:gd name="T93" fmla="*/ 2147483647 h 259"/>
                <a:gd name="T94" fmla="*/ 2147483647 w 259"/>
                <a:gd name="T95" fmla="*/ 2147483647 h 259"/>
                <a:gd name="T96" fmla="*/ 2147483647 w 259"/>
                <a:gd name="T97" fmla="*/ 2147483647 h 259"/>
                <a:gd name="T98" fmla="*/ 2147483647 w 259"/>
                <a:gd name="T99" fmla="*/ 2147483647 h 259"/>
                <a:gd name="T100" fmla="*/ 2147483647 w 259"/>
                <a:gd name="T101" fmla="*/ 2147483647 h 259"/>
                <a:gd name="T102" fmla="*/ 2147483647 w 259"/>
                <a:gd name="T103" fmla="*/ 2147483647 h 259"/>
                <a:gd name="T104" fmla="*/ 2147483647 w 259"/>
                <a:gd name="T105" fmla="*/ 2147483647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47387" name="Freeform 292"/>
            <p:cNvSpPr>
              <a:spLocks/>
            </p:cNvSpPr>
            <p:nvPr/>
          </p:nvSpPr>
          <p:spPr bwMode="auto">
            <a:xfrm>
              <a:off x="7008813" y="3744913"/>
              <a:ext cx="30162" cy="49212"/>
            </a:xfrm>
            <a:custGeom>
              <a:avLst/>
              <a:gdLst>
                <a:gd name="T0" fmla="*/ 2147483647 w 72"/>
                <a:gd name="T1" fmla="*/ 2147483647 h 92"/>
                <a:gd name="T2" fmla="*/ 2147483647 w 72"/>
                <a:gd name="T3" fmla="*/ 2147483647 h 92"/>
                <a:gd name="T4" fmla="*/ 2147483647 w 72"/>
                <a:gd name="T5" fmla="*/ 2147483647 h 92"/>
                <a:gd name="T6" fmla="*/ 2147483647 w 72"/>
                <a:gd name="T7" fmla="*/ 2147483647 h 92"/>
                <a:gd name="T8" fmla="*/ 2147483647 w 72"/>
                <a:gd name="T9" fmla="*/ 2147483647 h 92"/>
                <a:gd name="T10" fmla="*/ 2147483647 w 72"/>
                <a:gd name="T11" fmla="*/ 2147483647 h 92"/>
                <a:gd name="T12" fmla="*/ 2147483647 w 72"/>
                <a:gd name="T13" fmla="*/ 2147483647 h 92"/>
                <a:gd name="T14" fmla="*/ 2147483647 w 72"/>
                <a:gd name="T15" fmla="*/ 2147483647 h 92"/>
                <a:gd name="T16" fmla="*/ 2147483647 w 72"/>
                <a:gd name="T17" fmla="*/ 2147483647 h 92"/>
                <a:gd name="T18" fmla="*/ 2147483647 w 72"/>
                <a:gd name="T19" fmla="*/ 2147483647 h 92"/>
                <a:gd name="T20" fmla="*/ 2147483647 w 72"/>
                <a:gd name="T21" fmla="*/ 2147483647 h 92"/>
                <a:gd name="T22" fmla="*/ 0 w 72"/>
                <a:gd name="T23" fmla="*/ 0 h 92"/>
                <a:gd name="T24" fmla="*/ 2147483647 w 72"/>
                <a:gd name="T25" fmla="*/ 2147483647 h 92"/>
                <a:gd name="T26" fmla="*/ 2147483647 w 72"/>
                <a:gd name="T27" fmla="*/ 2147483647 h 92"/>
                <a:gd name="T28" fmla="*/ 2147483647 w 72"/>
                <a:gd name="T29" fmla="*/ 2147483647 h 92"/>
                <a:gd name="T30" fmla="*/ 2147483647 w 72"/>
                <a:gd name="T31" fmla="*/ 2147483647 h 92"/>
                <a:gd name="T32" fmla="*/ 2147483647 w 72"/>
                <a:gd name="T33" fmla="*/ 2147483647 h 92"/>
                <a:gd name="T34" fmla="*/ 2147483647 w 72"/>
                <a:gd name="T35" fmla="*/ 2147483647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47388" name="Freeform 293"/>
            <p:cNvSpPr>
              <a:spLocks/>
            </p:cNvSpPr>
            <p:nvPr/>
          </p:nvSpPr>
          <p:spPr bwMode="auto">
            <a:xfrm>
              <a:off x="7059613" y="3810000"/>
              <a:ext cx="22225" cy="33338"/>
            </a:xfrm>
            <a:custGeom>
              <a:avLst/>
              <a:gdLst>
                <a:gd name="T0" fmla="*/ 2147483647 w 46"/>
                <a:gd name="T1" fmla="*/ 2147483647 h 62"/>
                <a:gd name="T2" fmla="*/ 2147483647 w 46"/>
                <a:gd name="T3" fmla="*/ 2147483647 h 62"/>
                <a:gd name="T4" fmla="*/ 2147483647 w 46"/>
                <a:gd name="T5" fmla="*/ 2147483647 h 62"/>
                <a:gd name="T6" fmla="*/ 2147483647 w 46"/>
                <a:gd name="T7" fmla="*/ 2147483647 h 62"/>
                <a:gd name="T8" fmla="*/ 2147483647 w 46"/>
                <a:gd name="T9" fmla="*/ 0 h 62"/>
                <a:gd name="T10" fmla="*/ 2147483647 w 46"/>
                <a:gd name="T11" fmla="*/ 2147483647 h 62"/>
                <a:gd name="T12" fmla="*/ 2147483647 w 46"/>
                <a:gd name="T13" fmla="*/ 2147483647 h 62"/>
                <a:gd name="T14" fmla="*/ 2147483647 w 46"/>
                <a:gd name="T15" fmla="*/ 2147483647 h 62"/>
                <a:gd name="T16" fmla="*/ 2147483647 w 46"/>
                <a:gd name="T17" fmla="*/ 2147483647 h 62"/>
                <a:gd name="T18" fmla="*/ 2147483647 w 46"/>
                <a:gd name="T19" fmla="*/ 2147483647 h 62"/>
                <a:gd name="T20" fmla="*/ 2147483647 w 46"/>
                <a:gd name="T21" fmla="*/ 2147483647 h 62"/>
                <a:gd name="T22" fmla="*/ 2147483647 w 46"/>
                <a:gd name="T23" fmla="*/ 2147483647 h 62"/>
                <a:gd name="T24" fmla="*/ 2147483647 w 46"/>
                <a:gd name="T25" fmla="*/ 2147483647 h 62"/>
                <a:gd name="T26" fmla="*/ 2147483647 w 46"/>
                <a:gd name="T27" fmla="*/ 2147483647 h 62"/>
                <a:gd name="T28" fmla="*/ 2147483647 w 46"/>
                <a:gd name="T29" fmla="*/ 2147483647 h 62"/>
                <a:gd name="T30" fmla="*/ 2147483647 w 46"/>
                <a:gd name="T31" fmla="*/ 2147483647 h 62"/>
                <a:gd name="T32" fmla="*/ 2147483647 w 46"/>
                <a:gd name="T33" fmla="*/ 2147483647 h 62"/>
                <a:gd name="T34" fmla="*/ 2147483647 w 46"/>
                <a:gd name="T35" fmla="*/ 2147483647 h 62"/>
                <a:gd name="T36" fmla="*/ 2147483647 w 46"/>
                <a:gd name="T37" fmla="*/ 2147483647 h 62"/>
                <a:gd name="T38" fmla="*/ 2147483647 w 46"/>
                <a:gd name="T39" fmla="*/ 2147483647 h 62"/>
                <a:gd name="T40" fmla="*/ 2147483647 w 46"/>
                <a:gd name="T41" fmla="*/ 2147483647 h 62"/>
                <a:gd name="T42" fmla="*/ 2147483647 w 46"/>
                <a:gd name="T43" fmla="*/ 2147483647 h 62"/>
                <a:gd name="T44" fmla="*/ 2147483647 w 46"/>
                <a:gd name="T45" fmla="*/ 2147483647 h 62"/>
                <a:gd name="T46" fmla="*/ 2147483647 w 46"/>
                <a:gd name="T47" fmla="*/ 2147483647 h 62"/>
                <a:gd name="T48" fmla="*/ 0 w 46"/>
                <a:gd name="T49" fmla="*/ 2147483647 h 62"/>
                <a:gd name="T50" fmla="*/ 0 w 46"/>
                <a:gd name="T51" fmla="*/ 2147483647 h 62"/>
                <a:gd name="T52" fmla="*/ 0 w 46"/>
                <a:gd name="T53" fmla="*/ 2147483647 h 62"/>
                <a:gd name="T54" fmla="*/ 2147483647 w 4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47389" name="Freeform 294"/>
            <p:cNvSpPr>
              <a:spLocks/>
            </p:cNvSpPr>
            <p:nvPr/>
          </p:nvSpPr>
          <p:spPr bwMode="auto">
            <a:xfrm>
              <a:off x="6988175" y="3587750"/>
              <a:ext cx="66675" cy="153988"/>
            </a:xfrm>
            <a:custGeom>
              <a:avLst/>
              <a:gdLst>
                <a:gd name="T0" fmla="*/ 2147483647 w 152"/>
                <a:gd name="T1" fmla="*/ 0 h 296"/>
                <a:gd name="T2" fmla="*/ 2147483647 w 152"/>
                <a:gd name="T3" fmla="*/ 2147483647 h 296"/>
                <a:gd name="T4" fmla="*/ 2147483647 w 152"/>
                <a:gd name="T5" fmla="*/ 2147483647 h 296"/>
                <a:gd name="T6" fmla="*/ 2147483647 w 152"/>
                <a:gd name="T7" fmla="*/ 2147483647 h 296"/>
                <a:gd name="T8" fmla="*/ 2147483647 w 152"/>
                <a:gd name="T9" fmla="*/ 2147483647 h 296"/>
                <a:gd name="T10" fmla="*/ 2147483647 w 152"/>
                <a:gd name="T11" fmla="*/ 2147483647 h 296"/>
                <a:gd name="T12" fmla="*/ 2147483647 w 152"/>
                <a:gd name="T13" fmla="*/ 2147483647 h 296"/>
                <a:gd name="T14" fmla="*/ 2147483647 w 152"/>
                <a:gd name="T15" fmla="*/ 2147483647 h 296"/>
                <a:gd name="T16" fmla="*/ 2147483647 w 152"/>
                <a:gd name="T17" fmla="*/ 2147483647 h 296"/>
                <a:gd name="T18" fmla="*/ 2147483647 w 152"/>
                <a:gd name="T19" fmla="*/ 2147483647 h 296"/>
                <a:gd name="T20" fmla="*/ 2147483647 w 152"/>
                <a:gd name="T21" fmla="*/ 2147483647 h 296"/>
                <a:gd name="T22" fmla="*/ 2147483647 w 152"/>
                <a:gd name="T23" fmla="*/ 2147483647 h 296"/>
                <a:gd name="T24" fmla="*/ 2147483647 w 152"/>
                <a:gd name="T25" fmla="*/ 2147483647 h 296"/>
                <a:gd name="T26" fmla="*/ 2147483647 w 152"/>
                <a:gd name="T27" fmla="*/ 2147483647 h 296"/>
                <a:gd name="T28" fmla="*/ 2147483647 w 152"/>
                <a:gd name="T29" fmla="*/ 2147483647 h 296"/>
                <a:gd name="T30" fmla="*/ 2147483647 w 152"/>
                <a:gd name="T31" fmla="*/ 2147483647 h 296"/>
                <a:gd name="T32" fmla="*/ 2147483647 w 152"/>
                <a:gd name="T33" fmla="*/ 2147483647 h 296"/>
                <a:gd name="T34" fmla="*/ 2147483647 w 152"/>
                <a:gd name="T35" fmla="*/ 2147483647 h 296"/>
                <a:gd name="T36" fmla="*/ 2147483647 w 152"/>
                <a:gd name="T37" fmla="*/ 2147483647 h 296"/>
                <a:gd name="T38" fmla="*/ 2147483647 w 152"/>
                <a:gd name="T39" fmla="*/ 2147483647 h 296"/>
                <a:gd name="T40" fmla="*/ 2147483647 w 152"/>
                <a:gd name="T41" fmla="*/ 2147483647 h 296"/>
                <a:gd name="T42" fmla="*/ 2147483647 w 152"/>
                <a:gd name="T43" fmla="*/ 2147483647 h 296"/>
                <a:gd name="T44" fmla="*/ 2147483647 w 152"/>
                <a:gd name="T45" fmla="*/ 2147483647 h 296"/>
                <a:gd name="T46" fmla="*/ 2147483647 w 152"/>
                <a:gd name="T47" fmla="*/ 2147483647 h 296"/>
                <a:gd name="T48" fmla="*/ 2147483647 w 152"/>
                <a:gd name="T49" fmla="*/ 2147483647 h 296"/>
                <a:gd name="T50" fmla="*/ 2147483647 w 152"/>
                <a:gd name="T51" fmla="*/ 2147483647 h 296"/>
                <a:gd name="T52" fmla="*/ 2147483647 w 152"/>
                <a:gd name="T53" fmla="*/ 2147483647 h 296"/>
                <a:gd name="T54" fmla="*/ 2147483647 w 152"/>
                <a:gd name="T55" fmla="*/ 2147483647 h 296"/>
                <a:gd name="T56" fmla="*/ 2147483647 w 152"/>
                <a:gd name="T57" fmla="*/ 2147483647 h 296"/>
                <a:gd name="T58" fmla="*/ 2147483647 w 152"/>
                <a:gd name="T59" fmla="*/ 2147483647 h 296"/>
                <a:gd name="T60" fmla="*/ 2147483647 w 152"/>
                <a:gd name="T61" fmla="*/ 2147483647 h 296"/>
                <a:gd name="T62" fmla="*/ 2147483647 w 152"/>
                <a:gd name="T63" fmla="*/ 2147483647 h 296"/>
                <a:gd name="T64" fmla="*/ 2147483647 w 152"/>
                <a:gd name="T65" fmla="*/ 2147483647 h 296"/>
                <a:gd name="T66" fmla="*/ 2147483647 w 152"/>
                <a:gd name="T67" fmla="*/ 2147483647 h 296"/>
                <a:gd name="T68" fmla="*/ 2147483647 w 152"/>
                <a:gd name="T69" fmla="*/ 2147483647 h 296"/>
                <a:gd name="T70" fmla="*/ 2147483647 w 152"/>
                <a:gd name="T71" fmla="*/ 2147483647 h 296"/>
                <a:gd name="T72" fmla="*/ 2147483647 w 152"/>
                <a:gd name="T73" fmla="*/ 2147483647 h 296"/>
                <a:gd name="T74" fmla="*/ 2147483647 w 152"/>
                <a:gd name="T75" fmla="*/ 2147483647 h 296"/>
                <a:gd name="T76" fmla="*/ 0 w 152"/>
                <a:gd name="T77" fmla="*/ 2147483647 h 296"/>
                <a:gd name="T78" fmla="*/ 0 w 152"/>
                <a:gd name="T79" fmla="*/ 2147483647 h 296"/>
                <a:gd name="T80" fmla="*/ 2147483647 w 152"/>
                <a:gd name="T81" fmla="*/ 2147483647 h 296"/>
                <a:gd name="T82" fmla="*/ 2147483647 w 152"/>
                <a:gd name="T83" fmla="*/ 2147483647 h 296"/>
                <a:gd name="T84" fmla="*/ 2147483647 w 152"/>
                <a:gd name="T85" fmla="*/ 2147483647 h 296"/>
                <a:gd name="T86" fmla="*/ 2147483647 w 152"/>
                <a:gd name="T87" fmla="*/ 2147483647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47390" name="Freeform 295"/>
            <p:cNvSpPr>
              <a:spLocks/>
            </p:cNvSpPr>
            <p:nvPr/>
          </p:nvSpPr>
          <p:spPr bwMode="auto">
            <a:xfrm>
              <a:off x="7119938" y="3819525"/>
              <a:ext cx="11112" cy="20638"/>
            </a:xfrm>
            <a:custGeom>
              <a:avLst/>
              <a:gdLst>
                <a:gd name="T0" fmla="*/ 2147483647 w 26"/>
                <a:gd name="T1" fmla="*/ 2147483647 h 38"/>
                <a:gd name="T2" fmla="*/ 2147483647 w 26"/>
                <a:gd name="T3" fmla="*/ 0 h 38"/>
                <a:gd name="T4" fmla="*/ 2147483647 w 26"/>
                <a:gd name="T5" fmla="*/ 2147483647 h 38"/>
                <a:gd name="T6" fmla="*/ 2147483647 w 26"/>
                <a:gd name="T7" fmla="*/ 2147483647 h 38"/>
                <a:gd name="T8" fmla="*/ 2147483647 w 26"/>
                <a:gd name="T9" fmla="*/ 2147483647 h 38"/>
                <a:gd name="T10" fmla="*/ 0 w 26"/>
                <a:gd name="T11" fmla="*/ 2147483647 h 38"/>
                <a:gd name="T12" fmla="*/ 2147483647 w 26"/>
                <a:gd name="T13" fmla="*/ 2147483647 h 38"/>
                <a:gd name="T14" fmla="*/ 2147483647 w 26"/>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47391" name="Freeform 296"/>
            <p:cNvSpPr>
              <a:spLocks/>
            </p:cNvSpPr>
            <p:nvPr/>
          </p:nvSpPr>
          <p:spPr bwMode="auto">
            <a:xfrm>
              <a:off x="7089775" y="3784600"/>
              <a:ext cx="12700" cy="15875"/>
            </a:xfrm>
            <a:custGeom>
              <a:avLst/>
              <a:gdLst>
                <a:gd name="T0" fmla="*/ 0 w 34"/>
                <a:gd name="T1" fmla="*/ 2147483647 h 31"/>
                <a:gd name="T2" fmla="*/ 2147483647 w 34"/>
                <a:gd name="T3" fmla="*/ 2147483647 h 31"/>
                <a:gd name="T4" fmla="*/ 2147483647 w 34"/>
                <a:gd name="T5" fmla="*/ 2147483647 h 31"/>
                <a:gd name="T6" fmla="*/ 2147483647 w 34"/>
                <a:gd name="T7" fmla="*/ 2147483647 h 31"/>
                <a:gd name="T8" fmla="*/ 2147483647 w 34"/>
                <a:gd name="T9" fmla="*/ 2147483647 h 31"/>
                <a:gd name="T10" fmla="*/ 2147483647 w 34"/>
                <a:gd name="T11" fmla="*/ 2147483647 h 31"/>
                <a:gd name="T12" fmla="*/ 2147483647 w 34"/>
                <a:gd name="T13" fmla="*/ 2147483647 h 31"/>
                <a:gd name="T14" fmla="*/ 2147483647 w 34"/>
                <a:gd name="T15" fmla="*/ 2147483647 h 31"/>
                <a:gd name="T16" fmla="*/ 2147483647 w 34"/>
                <a:gd name="T17" fmla="*/ 0 h 31"/>
                <a:gd name="T18" fmla="*/ 2147483647 w 34"/>
                <a:gd name="T19" fmla="*/ 2147483647 h 31"/>
                <a:gd name="T20" fmla="*/ 2147483647 w 34"/>
                <a:gd name="T21" fmla="*/ 2147483647 h 31"/>
                <a:gd name="T22" fmla="*/ 2147483647 w 34"/>
                <a:gd name="T23" fmla="*/ 2147483647 h 31"/>
                <a:gd name="T24" fmla="*/ 2147483647 w 34"/>
                <a:gd name="T25" fmla="*/ 2147483647 h 31"/>
                <a:gd name="T26" fmla="*/ 2147483647 w 34"/>
                <a:gd name="T27" fmla="*/ 2147483647 h 31"/>
                <a:gd name="T28" fmla="*/ 0 w 34"/>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47392" name="Freeform 297"/>
            <p:cNvSpPr>
              <a:spLocks/>
            </p:cNvSpPr>
            <p:nvPr/>
          </p:nvSpPr>
          <p:spPr bwMode="auto">
            <a:xfrm>
              <a:off x="7054850" y="3781425"/>
              <a:ext cx="7938" cy="19050"/>
            </a:xfrm>
            <a:custGeom>
              <a:avLst/>
              <a:gdLst>
                <a:gd name="T0" fmla="*/ 0 w 20"/>
                <a:gd name="T1" fmla="*/ 2147483647 h 37"/>
                <a:gd name="T2" fmla="*/ 0 w 20"/>
                <a:gd name="T3" fmla="*/ 2147483647 h 37"/>
                <a:gd name="T4" fmla="*/ 2147483647 w 20"/>
                <a:gd name="T5" fmla="*/ 2147483647 h 37"/>
                <a:gd name="T6" fmla="*/ 2147483647 w 20"/>
                <a:gd name="T7" fmla="*/ 2147483647 h 37"/>
                <a:gd name="T8" fmla="*/ 2147483647 w 20"/>
                <a:gd name="T9" fmla="*/ 0 h 37"/>
                <a:gd name="T10" fmla="*/ 0 w 20"/>
                <a:gd name="T11" fmla="*/ 2147483647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7393" name="Line 298"/>
            <p:cNvSpPr>
              <a:spLocks noChangeShapeType="1"/>
            </p:cNvSpPr>
            <p:nvPr/>
          </p:nvSpPr>
          <p:spPr bwMode="auto">
            <a:xfrm>
              <a:off x="7108825" y="3830638"/>
              <a:ext cx="1588" cy="158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394" name="Freeform 299"/>
            <p:cNvSpPr>
              <a:spLocks/>
            </p:cNvSpPr>
            <p:nvPr/>
          </p:nvSpPr>
          <p:spPr bwMode="auto">
            <a:xfrm>
              <a:off x="7108825" y="3836988"/>
              <a:ext cx="4763" cy="9525"/>
            </a:xfrm>
            <a:custGeom>
              <a:avLst/>
              <a:gdLst>
                <a:gd name="T0" fmla="*/ 0 w 13"/>
                <a:gd name="T1" fmla="*/ 2147483647 h 18"/>
                <a:gd name="T2" fmla="*/ 2147483647 w 13"/>
                <a:gd name="T3" fmla="*/ 2147483647 h 18"/>
                <a:gd name="T4" fmla="*/ 2147483647 w 13"/>
                <a:gd name="T5" fmla="*/ 2147483647 h 18"/>
                <a:gd name="T6" fmla="*/ 2147483647 w 13"/>
                <a:gd name="T7" fmla="*/ 2147483647 h 18"/>
                <a:gd name="T8" fmla="*/ 2147483647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395" name="Line 300"/>
            <p:cNvSpPr>
              <a:spLocks noChangeShapeType="1"/>
            </p:cNvSpPr>
            <p:nvPr/>
          </p:nvSpPr>
          <p:spPr bwMode="auto">
            <a:xfrm flipH="1" flipV="1">
              <a:off x="7105650" y="3827463"/>
              <a:ext cx="7938"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396" name="Freeform 301"/>
            <p:cNvSpPr>
              <a:spLocks/>
            </p:cNvSpPr>
            <p:nvPr/>
          </p:nvSpPr>
          <p:spPr bwMode="auto">
            <a:xfrm>
              <a:off x="7024688" y="4011613"/>
              <a:ext cx="11112" cy="15875"/>
            </a:xfrm>
            <a:custGeom>
              <a:avLst/>
              <a:gdLst>
                <a:gd name="T0" fmla="*/ 0 w 27"/>
                <a:gd name="T1" fmla="*/ 0 h 31"/>
                <a:gd name="T2" fmla="*/ 2147483647 w 27"/>
                <a:gd name="T3" fmla="*/ 2147483647 h 31"/>
                <a:gd name="T4" fmla="*/ 2147483647 w 27"/>
                <a:gd name="T5" fmla="*/ 2147483647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47397" name="Freeform 302"/>
            <p:cNvSpPr>
              <a:spLocks/>
            </p:cNvSpPr>
            <p:nvPr/>
          </p:nvSpPr>
          <p:spPr bwMode="auto">
            <a:xfrm>
              <a:off x="7027863" y="4017963"/>
              <a:ext cx="7937" cy="1587"/>
            </a:xfrm>
            <a:custGeom>
              <a:avLst/>
              <a:gdLst>
                <a:gd name="T0" fmla="*/ 2147483647 w 20"/>
                <a:gd name="T1" fmla="*/ 0 h 1576"/>
                <a:gd name="T2" fmla="*/ 2147483647 w 20"/>
                <a:gd name="T3" fmla="*/ 0 h 1576"/>
                <a:gd name="T4" fmla="*/ 0 w 20"/>
                <a:gd name="T5" fmla="*/ 0 h 1576"/>
                <a:gd name="T6" fmla="*/ 0 60000 65536"/>
                <a:gd name="T7" fmla="*/ 0 60000 65536"/>
                <a:gd name="T8" fmla="*/ 0 60000 65536"/>
              </a:gdLst>
              <a:ahLst/>
              <a:cxnLst>
                <a:cxn ang="T6">
                  <a:pos x="T0" y="T1"/>
                </a:cxn>
                <a:cxn ang="T7">
                  <a:pos x="T2" y="T3"/>
                </a:cxn>
                <a:cxn ang="T8">
                  <a:pos x="T4" y="T5"/>
                </a:cxn>
              </a:cxnLst>
              <a:rect l="0" t="0" r="r" b="b"/>
              <a:pathLst>
                <a:path w="20" h="1576">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398" name="Freeform 303"/>
            <p:cNvSpPr>
              <a:spLocks/>
            </p:cNvSpPr>
            <p:nvPr/>
          </p:nvSpPr>
          <p:spPr bwMode="auto">
            <a:xfrm>
              <a:off x="7038975" y="4000500"/>
              <a:ext cx="15875" cy="7938"/>
            </a:xfrm>
            <a:custGeom>
              <a:avLst/>
              <a:gdLst>
                <a:gd name="T0" fmla="*/ 0 w 34"/>
                <a:gd name="T1" fmla="*/ 2147483647 h 13"/>
                <a:gd name="T2" fmla="*/ 2147483647 w 34"/>
                <a:gd name="T3" fmla="*/ 2147483647 h 13"/>
                <a:gd name="T4" fmla="*/ 2147483647 w 34"/>
                <a:gd name="T5" fmla="*/ 2147483647 h 13"/>
                <a:gd name="T6" fmla="*/ 2147483647 w 34"/>
                <a:gd name="T7" fmla="*/ 2147483647 h 13"/>
                <a:gd name="T8" fmla="*/ 2147483647 w 34"/>
                <a:gd name="T9" fmla="*/ 2147483647 h 13"/>
                <a:gd name="T10" fmla="*/ 2147483647 w 34"/>
                <a:gd name="T11" fmla="*/ 2147483647 h 13"/>
                <a:gd name="T12" fmla="*/ 2147483647 w 34"/>
                <a:gd name="T13" fmla="*/ 0 h 13"/>
                <a:gd name="T14" fmla="*/ 2147483647 w 34"/>
                <a:gd name="T15" fmla="*/ 0 h 13"/>
                <a:gd name="T16" fmla="*/ 2147483647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47399" name="Freeform 304"/>
            <p:cNvSpPr>
              <a:spLocks/>
            </p:cNvSpPr>
            <p:nvPr/>
          </p:nvSpPr>
          <p:spPr bwMode="auto">
            <a:xfrm>
              <a:off x="7038975" y="3984625"/>
              <a:ext cx="15875" cy="9525"/>
            </a:xfrm>
            <a:custGeom>
              <a:avLst/>
              <a:gdLst>
                <a:gd name="T0" fmla="*/ 2147483647 w 34"/>
                <a:gd name="T1" fmla="*/ 2147483647 h 18"/>
                <a:gd name="T2" fmla="*/ 2147483647 w 34"/>
                <a:gd name="T3" fmla="*/ 0 h 18"/>
                <a:gd name="T4" fmla="*/ 2147483647 w 34"/>
                <a:gd name="T5" fmla="*/ 0 h 18"/>
                <a:gd name="T6" fmla="*/ 2147483647 w 34"/>
                <a:gd name="T7" fmla="*/ 0 h 18"/>
                <a:gd name="T8" fmla="*/ 2147483647 w 34"/>
                <a:gd name="T9" fmla="*/ 0 h 18"/>
                <a:gd name="T10" fmla="*/ 0 w 34"/>
                <a:gd name="T11" fmla="*/ 0 h 18"/>
                <a:gd name="T12" fmla="*/ 2147483647 w 34"/>
                <a:gd name="T13" fmla="*/ 2147483647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47400" name="Freeform 305"/>
            <p:cNvSpPr>
              <a:spLocks/>
            </p:cNvSpPr>
            <p:nvPr/>
          </p:nvSpPr>
          <p:spPr bwMode="auto">
            <a:xfrm>
              <a:off x="7058025" y="3965575"/>
              <a:ext cx="25400" cy="12700"/>
            </a:xfrm>
            <a:custGeom>
              <a:avLst/>
              <a:gdLst>
                <a:gd name="T0" fmla="*/ 2147483647 w 59"/>
                <a:gd name="T1" fmla="*/ 2147483647 h 25"/>
                <a:gd name="T2" fmla="*/ 2147483647 w 59"/>
                <a:gd name="T3" fmla="*/ 2147483647 h 25"/>
                <a:gd name="T4" fmla="*/ 2147483647 w 59"/>
                <a:gd name="T5" fmla="*/ 0 h 25"/>
                <a:gd name="T6" fmla="*/ 2147483647 w 59"/>
                <a:gd name="T7" fmla="*/ 0 h 25"/>
                <a:gd name="T8" fmla="*/ 2147483647 w 59"/>
                <a:gd name="T9" fmla="*/ 0 h 25"/>
                <a:gd name="T10" fmla="*/ 2147483647 w 59"/>
                <a:gd name="T11" fmla="*/ 2147483647 h 25"/>
                <a:gd name="T12" fmla="*/ 2147483647 w 59"/>
                <a:gd name="T13" fmla="*/ 2147483647 h 25"/>
                <a:gd name="T14" fmla="*/ 2147483647 w 59"/>
                <a:gd name="T15" fmla="*/ 2147483647 h 25"/>
                <a:gd name="T16" fmla="*/ 0 w 59"/>
                <a:gd name="T17" fmla="*/ 2147483647 h 25"/>
                <a:gd name="T18" fmla="*/ 2147483647 w 59"/>
                <a:gd name="T19" fmla="*/ 2147483647 h 25"/>
                <a:gd name="T20" fmla="*/ 2147483647 w 59"/>
                <a:gd name="T21" fmla="*/ 2147483647 h 25"/>
                <a:gd name="T22" fmla="*/ 2147483647 w 59"/>
                <a:gd name="T23" fmla="*/ 2147483647 h 25"/>
                <a:gd name="T24" fmla="*/ 2147483647 w 59"/>
                <a:gd name="T25" fmla="*/ 2147483647 h 25"/>
                <a:gd name="T26" fmla="*/ 2147483647 w 59"/>
                <a:gd name="T27" fmla="*/ 2147483647 h 25"/>
                <a:gd name="T28" fmla="*/ 2147483647 w 59"/>
                <a:gd name="T29" fmla="*/ 2147483647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47401" name="Line 306"/>
            <p:cNvSpPr>
              <a:spLocks noChangeShapeType="1"/>
            </p:cNvSpPr>
            <p:nvPr/>
          </p:nvSpPr>
          <p:spPr bwMode="auto">
            <a:xfrm flipV="1">
              <a:off x="7123113" y="3935413"/>
              <a:ext cx="793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402" name="Freeform 307"/>
            <p:cNvSpPr>
              <a:spLocks/>
            </p:cNvSpPr>
            <p:nvPr>
              <p:custDataLst>
                <p:tags r:id="rId201"/>
              </p:custDataLst>
            </p:nvPr>
          </p:nvSpPr>
          <p:spPr bwMode="auto">
            <a:xfrm>
              <a:off x="7297738" y="4406900"/>
              <a:ext cx="14287"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3" name="Freeform 308"/>
            <p:cNvSpPr>
              <a:spLocks/>
            </p:cNvSpPr>
            <p:nvPr>
              <p:custDataLst>
                <p:tags r:id="rId202"/>
              </p:custDataLst>
            </p:nvPr>
          </p:nvSpPr>
          <p:spPr bwMode="auto">
            <a:xfrm>
              <a:off x="7373938" y="434657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00B0F0"/>
            </a:solidFill>
            <a:ln w="9525" cap="flat" cmpd="sng">
              <a:solidFill>
                <a:srgbClr val="FFFFFF"/>
              </a:solidFill>
              <a:prstDash val="solid"/>
              <a:round/>
              <a:headEnd type="none" w="med" len="med"/>
              <a:tailEnd type="none" w="med" len="med"/>
            </a:ln>
          </p:spPr>
          <p:txBody>
            <a:bodyPr/>
            <a:lstStyle/>
            <a:p>
              <a:endParaRPr lang="en-GB"/>
            </a:p>
          </p:txBody>
        </p:sp>
        <p:sp>
          <p:nvSpPr>
            <p:cNvPr id="47404" name="Freeform 309"/>
            <p:cNvSpPr>
              <a:spLocks/>
            </p:cNvSpPr>
            <p:nvPr>
              <p:custDataLst>
                <p:tags r:id="rId203"/>
              </p:custDataLst>
            </p:nvPr>
          </p:nvSpPr>
          <p:spPr bwMode="auto">
            <a:xfrm>
              <a:off x="7421563" y="4225925"/>
              <a:ext cx="23812"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5" name="Freeform 310"/>
            <p:cNvSpPr>
              <a:spLocks/>
            </p:cNvSpPr>
            <p:nvPr>
              <p:custDataLst>
                <p:tags r:id="rId204"/>
              </p:custDataLst>
            </p:nvPr>
          </p:nvSpPr>
          <p:spPr bwMode="auto">
            <a:xfrm>
              <a:off x="7405688" y="419576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6" name="Freeform 311"/>
            <p:cNvSpPr>
              <a:spLocks/>
            </p:cNvSpPr>
            <p:nvPr>
              <p:custDataLst>
                <p:tags r:id="rId205"/>
              </p:custDataLst>
            </p:nvPr>
          </p:nvSpPr>
          <p:spPr bwMode="auto">
            <a:xfrm>
              <a:off x="7231063" y="4092575"/>
              <a:ext cx="7937"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7" name="Freeform 312"/>
            <p:cNvSpPr>
              <a:spLocks/>
            </p:cNvSpPr>
            <p:nvPr>
              <p:custDataLst>
                <p:tags r:id="rId206"/>
              </p:custDataLst>
            </p:nvPr>
          </p:nvSpPr>
          <p:spPr bwMode="auto">
            <a:xfrm>
              <a:off x="7158038" y="4227513"/>
              <a:ext cx="30162"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8" name="Freeform 313"/>
            <p:cNvSpPr>
              <a:spLocks/>
            </p:cNvSpPr>
            <p:nvPr>
              <p:custDataLst>
                <p:tags r:id="rId207"/>
              </p:custDataLst>
            </p:nvPr>
          </p:nvSpPr>
          <p:spPr bwMode="auto">
            <a:xfrm>
              <a:off x="7165975" y="441325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09" name="Freeform 314"/>
            <p:cNvSpPr>
              <a:spLocks/>
            </p:cNvSpPr>
            <p:nvPr>
              <p:custDataLst>
                <p:tags r:id="rId208"/>
              </p:custDataLst>
            </p:nvPr>
          </p:nvSpPr>
          <p:spPr bwMode="auto">
            <a:xfrm>
              <a:off x="7278688" y="4232275"/>
              <a:ext cx="11112"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10" name="Freeform 315"/>
            <p:cNvSpPr>
              <a:spLocks/>
            </p:cNvSpPr>
            <p:nvPr>
              <p:custDataLst>
                <p:tags r:id="rId209"/>
              </p:custDataLst>
            </p:nvPr>
          </p:nvSpPr>
          <p:spPr bwMode="auto">
            <a:xfrm>
              <a:off x="7138988" y="422751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07" name="Freeform 316"/>
            <p:cNvSpPr>
              <a:spLocks/>
            </p:cNvSpPr>
            <p:nvPr>
              <p:custDataLst>
                <p:tags r:id="rId210"/>
              </p:custDataLst>
            </p:nvPr>
          </p:nvSpPr>
          <p:spPr bwMode="auto">
            <a:xfrm>
              <a:off x="7183438" y="4275138"/>
              <a:ext cx="30162" cy="57150"/>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308" name="Freeform 317"/>
            <p:cNvSpPr>
              <a:spLocks/>
            </p:cNvSpPr>
            <p:nvPr>
              <p:custDataLst>
                <p:tags r:id="rId211"/>
              </p:custDataLst>
            </p:nvPr>
          </p:nvSpPr>
          <p:spPr bwMode="auto">
            <a:xfrm>
              <a:off x="6985000" y="4478338"/>
              <a:ext cx="46038" cy="58737"/>
            </a:xfrm>
            <a:custGeom>
              <a:avLst/>
              <a:gdLst>
                <a:gd name="T0" fmla="*/ 7772032 w 112"/>
                <a:gd name="T1" fmla="*/ 10206857 h 26"/>
                <a:gd name="T2" fmla="*/ 9461837 w 112"/>
                <a:gd name="T3" fmla="*/ 10206857 h 26"/>
                <a:gd name="T4" fmla="*/ 11151230 w 112"/>
                <a:gd name="T5" fmla="*/ 15310286 h 26"/>
                <a:gd name="T6" fmla="*/ 12502745 w 112"/>
                <a:gd name="T7" fmla="*/ 20415973 h 26"/>
                <a:gd name="T8" fmla="*/ 14192549 w 112"/>
                <a:gd name="T9" fmla="*/ 30622830 h 26"/>
                <a:gd name="T10" fmla="*/ 15544064 w 112"/>
                <a:gd name="T11" fmla="*/ 45933116 h 26"/>
                <a:gd name="T12" fmla="*/ 16895579 w 112"/>
                <a:gd name="T13" fmla="*/ 61245661 h 26"/>
                <a:gd name="T14" fmla="*/ 17909626 w 112"/>
                <a:gd name="T15" fmla="*/ 81659375 h 26"/>
                <a:gd name="T16" fmla="*/ 18923262 w 112"/>
                <a:gd name="T17" fmla="*/ 102075348 h 26"/>
                <a:gd name="T18" fmla="*/ 18585384 w 112"/>
                <a:gd name="T19" fmla="*/ 112282205 h 26"/>
                <a:gd name="T20" fmla="*/ 17740687 w 112"/>
                <a:gd name="T21" fmla="*/ 117387893 h 26"/>
                <a:gd name="T22" fmla="*/ 17064929 w 112"/>
                <a:gd name="T23" fmla="*/ 127594750 h 26"/>
                <a:gd name="T24" fmla="*/ 16050882 w 112"/>
                <a:gd name="T25" fmla="*/ 127594750 h 26"/>
                <a:gd name="T26" fmla="*/ 14699367 w 112"/>
                <a:gd name="T27" fmla="*/ 132698179 h 26"/>
                <a:gd name="T28" fmla="*/ 13347853 w 112"/>
                <a:gd name="T29" fmla="*/ 132698179 h 26"/>
                <a:gd name="T30" fmla="*/ 11151230 w 112"/>
                <a:gd name="T31" fmla="*/ 122491322 h 26"/>
                <a:gd name="T32" fmla="*/ 6927335 w 112"/>
                <a:gd name="T33" fmla="*/ 96971920 h 26"/>
                <a:gd name="T34" fmla="*/ 2703441 w 112"/>
                <a:gd name="T35" fmla="*/ 66349089 h 26"/>
                <a:gd name="T36" fmla="*/ 0 w 112"/>
                <a:gd name="T37" fmla="*/ 40829687 h 26"/>
                <a:gd name="T38" fmla="*/ 844697 w 112"/>
                <a:gd name="T39" fmla="*/ 20415973 h 26"/>
                <a:gd name="T40" fmla="*/ 1858333 w 112"/>
                <a:gd name="T41" fmla="*/ 10206857 h 26"/>
                <a:gd name="T42" fmla="*/ 3041319 w 112"/>
                <a:gd name="T43" fmla="*/ 5103429 h 26"/>
                <a:gd name="T44" fmla="*/ 4223895 w 112"/>
                <a:gd name="T45" fmla="*/ 0 h 26"/>
                <a:gd name="T46" fmla="*/ 6251578 w 112"/>
                <a:gd name="T47" fmla="*/ 5103429 h 26"/>
                <a:gd name="T48" fmla="*/ 7772032 w 112"/>
                <a:gd name="T49" fmla="*/ 1020685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413" name="Freeform 318"/>
            <p:cNvSpPr>
              <a:spLocks/>
            </p:cNvSpPr>
            <p:nvPr>
              <p:custDataLst>
                <p:tags r:id="rId212"/>
              </p:custDataLst>
            </p:nvPr>
          </p:nvSpPr>
          <p:spPr bwMode="auto">
            <a:xfrm>
              <a:off x="7083425" y="4516438"/>
              <a:ext cx="14288"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0" name="Freeform 319"/>
            <p:cNvSpPr>
              <a:spLocks/>
            </p:cNvSpPr>
            <p:nvPr>
              <p:custDataLst>
                <p:tags r:id="rId213"/>
              </p:custDataLst>
            </p:nvPr>
          </p:nvSpPr>
          <p:spPr bwMode="auto">
            <a:xfrm>
              <a:off x="6894513" y="4473575"/>
              <a:ext cx="36512" cy="55563"/>
            </a:xfrm>
            <a:custGeom>
              <a:avLst/>
              <a:gdLst>
                <a:gd name="T0" fmla="*/ 0 w 81"/>
                <a:gd name="T1" fmla="*/ 99585027 h 31"/>
                <a:gd name="T2" fmla="*/ 0 w 81"/>
                <a:gd name="T3" fmla="*/ 70673072 h 31"/>
                <a:gd name="T4" fmla="*/ 0 w 81"/>
                <a:gd name="T5" fmla="*/ 41761116 h 31"/>
                <a:gd name="T6" fmla="*/ 0 w 81"/>
                <a:gd name="T7" fmla="*/ 32123798 h 31"/>
                <a:gd name="T8" fmla="*/ 406602 w 81"/>
                <a:gd name="T9" fmla="*/ 25700113 h 31"/>
                <a:gd name="T10" fmla="*/ 609452 w 81"/>
                <a:gd name="T11" fmla="*/ 19274637 h 31"/>
                <a:gd name="T12" fmla="*/ 812752 w 81"/>
                <a:gd name="T13" fmla="*/ 12849161 h 31"/>
                <a:gd name="T14" fmla="*/ 1625505 w 81"/>
                <a:gd name="T15" fmla="*/ 6425476 h 31"/>
                <a:gd name="T16" fmla="*/ 2844859 w 81"/>
                <a:gd name="T17" fmla="*/ 0 h 31"/>
                <a:gd name="T18" fmla="*/ 5283116 w 81"/>
                <a:gd name="T19" fmla="*/ 3211842 h 31"/>
                <a:gd name="T20" fmla="*/ 8331275 w 81"/>
                <a:gd name="T21" fmla="*/ 3211842 h 31"/>
                <a:gd name="T22" fmla="*/ 11379434 w 81"/>
                <a:gd name="T23" fmla="*/ 3211842 h 31"/>
                <a:gd name="T24" fmla="*/ 13208240 w 81"/>
                <a:gd name="T25" fmla="*/ 3211842 h 31"/>
                <a:gd name="T26" fmla="*/ 14833744 w 81"/>
                <a:gd name="T27" fmla="*/ 3211842 h 31"/>
                <a:gd name="T28" fmla="*/ 16459249 w 81"/>
                <a:gd name="T29" fmla="*/ 3211842 h 31"/>
                <a:gd name="T30" fmla="*/ 14833744 w 81"/>
                <a:gd name="T31" fmla="*/ 19274637 h 31"/>
                <a:gd name="T32" fmla="*/ 13614390 w 81"/>
                <a:gd name="T33" fmla="*/ 32123798 h 31"/>
                <a:gd name="T34" fmla="*/ 13004939 w 81"/>
                <a:gd name="T35" fmla="*/ 44974751 h 31"/>
                <a:gd name="T36" fmla="*/ 12598337 w 81"/>
                <a:gd name="T37" fmla="*/ 57823911 h 31"/>
                <a:gd name="T38" fmla="*/ 11988886 w 81"/>
                <a:gd name="T39" fmla="*/ 67461230 h 31"/>
                <a:gd name="T40" fmla="*/ 10972833 w 81"/>
                <a:gd name="T41" fmla="*/ 73884914 h 31"/>
                <a:gd name="T42" fmla="*/ 9550629 w 81"/>
                <a:gd name="T43" fmla="*/ 80310390 h 31"/>
                <a:gd name="T44" fmla="*/ 6908620 w 81"/>
                <a:gd name="T45" fmla="*/ 80310390 h 31"/>
                <a:gd name="T46" fmla="*/ 0 w 81"/>
                <a:gd name="T47" fmla="*/ 9958502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415" name="Freeform 320"/>
            <p:cNvSpPr>
              <a:spLocks/>
            </p:cNvSpPr>
            <p:nvPr>
              <p:custDataLst>
                <p:tags r:id="rId214"/>
              </p:custDataLst>
            </p:nvPr>
          </p:nvSpPr>
          <p:spPr bwMode="auto">
            <a:xfrm>
              <a:off x="6961188" y="4433888"/>
              <a:ext cx="39687"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2" name="Freeform 321"/>
            <p:cNvSpPr>
              <a:spLocks/>
            </p:cNvSpPr>
            <p:nvPr>
              <p:custDataLst>
                <p:tags r:id="rId215"/>
              </p:custDataLst>
            </p:nvPr>
          </p:nvSpPr>
          <p:spPr bwMode="auto">
            <a:xfrm>
              <a:off x="7013575" y="4443413"/>
              <a:ext cx="36513" cy="58737"/>
            </a:xfrm>
            <a:custGeom>
              <a:avLst/>
              <a:gdLst>
                <a:gd name="T0" fmla="*/ 0 w 86"/>
                <a:gd name="T1" fmla="*/ 34240423 h 46"/>
                <a:gd name="T2" fmla="*/ 2523574 w 86"/>
                <a:gd name="T3" fmla="*/ 42393513 h 46"/>
                <a:gd name="T4" fmla="*/ 4506260 w 86"/>
                <a:gd name="T5" fmla="*/ 47284090 h 46"/>
                <a:gd name="T6" fmla="*/ 5407597 w 86"/>
                <a:gd name="T7" fmla="*/ 48914708 h 46"/>
                <a:gd name="T8" fmla="*/ 6488947 w 86"/>
                <a:gd name="T9" fmla="*/ 48914708 h 46"/>
                <a:gd name="T10" fmla="*/ 7390284 w 86"/>
                <a:gd name="T11" fmla="*/ 47284090 h 46"/>
                <a:gd name="T12" fmla="*/ 8291620 w 86"/>
                <a:gd name="T13" fmla="*/ 44024131 h 46"/>
                <a:gd name="T14" fmla="*/ 8291620 w 86"/>
                <a:gd name="T15" fmla="*/ 58698416 h 46"/>
                <a:gd name="T16" fmla="*/ 8291620 w 86"/>
                <a:gd name="T17" fmla="*/ 75003318 h 46"/>
                <a:gd name="T18" fmla="*/ 10093870 w 86"/>
                <a:gd name="T19" fmla="*/ 73372700 h 46"/>
                <a:gd name="T20" fmla="*/ 12076556 w 86"/>
                <a:gd name="T21" fmla="*/ 70111464 h 46"/>
                <a:gd name="T22" fmla="*/ 13879230 w 86"/>
                <a:gd name="T23" fmla="*/ 65220888 h 46"/>
                <a:gd name="T24" fmla="*/ 15501467 w 86"/>
                <a:gd name="T25" fmla="*/ 65220888 h 46"/>
                <a:gd name="T26" fmla="*/ 14960580 w 86"/>
                <a:gd name="T27" fmla="*/ 52175944 h 46"/>
                <a:gd name="T28" fmla="*/ 14420117 w 86"/>
                <a:gd name="T29" fmla="*/ 40762895 h 46"/>
                <a:gd name="T30" fmla="*/ 13338343 w 86"/>
                <a:gd name="T31" fmla="*/ 30979187 h 46"/>
                <a:gd name="T32" fmla="*/ 12617443 w 86"/>
                <a:gd name="T33" fmla="*/ 22827374 h 46"/>
                <a:gd name="T34" fmla="*/ 11536094 w 86"/>
                <a:gd name="T35" fmla="*/ 14674285 h 46"/>
                <a:gd name="T36" fmla="*/ 10454320 w 86"/>
                <a:gd name="T37" fmla="*/ 9782431 h 46"/>
                <a:gd name="T38" fmla="*/ 9192533 w 86"/>
                <a:gd name="T39" fmla="*/ 4891854 h 46"/>
                <a:gd name="T40" fmla="*/ 8291620 w 86"/>
                <a:gd name="T41" fmla="*/ 1630618 h 46"/>
                <a:gd name="T42" fmla="*/ 7029834 w 86"/>
                <a:gd name="T43" fmla="*/ 0 h 46"/>
                <a:gd name="T44" fmla="*/ 5948060 w 86"/>
                <a:gd name="T45" fmla="*/ 0 h 46"/>
                <a:gd name="T46" fmla="*/ 4686697 w 86"/>
                <a:gd name="T47" fmla="*/ 1630618 h 46"/>
                <a:gd name="T48" fmla="*/ 3424911 w 86"/>
                <a:gd name="T49" fmla="*/ 4891854 h 46"/>
                <a:gd name="T50" fmla="*/ 2523574 w 86"/>
                <a:gd name="T51" fmla="*/ 9782431 h 46"/>
                <a:gd name="T52" fmla="*/ 1441799 w 86"/>
                <a:gd name="T53" fmla="*/ 16304903 h 46"/>
                <a:gd name="T54" fmla="*/ 720900 w 86"/>
                <a:gd name="T55" fmla="*/ 24457992 h 46"/>
                <a:gd name="T56" fmla="*/ 0 w 86"/>
                <a:gd name="T57" fmla="*/ 34240423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417" name="Freeform 322"/>
            <p:cNvSpPr>
              <a:spLocks/>
            </p:cNvSpPr>
            <p:nvPr>
              <p:custDataLst>
                <p:tags r:id="rId216"/>
              </p:custDataLst>
            </p:nvPr>
          </p:nvSpPr>
          <p:spPr bwMode="auto">
            <a:xfrm>
              <a:off x="7065963" y="444817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18" name="Freeform 323"/>
            <p:cNvSpPr>
              <a:spLocks/>
            </p:cNvSpPr>
            <p:nvPr>
              <p:custDataLst>
                <p:tags r:id="rId217"/>
              </p:custDataLst>
            </p:nvPr>
          </p:nvSpPr>
          <p:spPr bwMode="auto">
            <a:xfrm>
              <a:off x="7138988" y="4440238"/>
              <a:ext cx="1587"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19" name="Freeform 324"/>
            <p:cNvSpPr>
              <a:spLocks/>
            </p:cNvSpPr>
            <p:nvPr>
              <p:custDataLst>
                <p:tags r:id="rId218"/>
              </p:custDataLst>
            </p:nvPr>
          </p:nvSpPr>
          <p:spPr bwMode="auto">
            <a:xfrm>
              <a:off x="6713538" y="4254500"/>
              <a:ext cx="20637"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0" name="Freeform 325"/>
            <p:cNvSpPr>
              <a:spLocks/>
            </p:cNvSpPr>
            <p:nvPr>
              <p:custDataLst>
                <p:tags r:id="rId219"/>
              </p:custDataLst>
            </p:nvPr>
          </p:nvSpPr>
          <p:spPr bwMode="auto">
            <a:xfrm>
              <a:off x="6659563" y="4227513"/>
              <a:ext cx="30162"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1" name="Freeform 326"/>
            <p:cNvSpPr>
              <a:spLocks/>
            </p:cNvSpPr>
            <p:nvPr>
              <p:custDataLst>
                <p:tags r:id="rId220"/>
              </p:custDataLst>
            </p:nvPr>
          </p:nvSpPr>
          <p:spPr bwMode="auto">
            <a:xfrm>
              <a:off x="6494463" y="4211638"/>
              <a:ext cx="7937"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2" name="Line 327" descr="Horizontal dunkel"/>
            <p:cNvSpPr>
              <a:spLocks noChangeShapeType="1"/>
            </p:cNvSpPr>
            <p:nvPr>
              <p:custDataLst>
                <p:tags r:id="rId221"/>
              </p:custDataLst>
            </p:nvPr>
          </p:nvSpPr>
          <p:spPr bwMode="auto">
            <a:xfrm>
              <a:off x="6519863" y="4248150"/>
              <a:ext cx="4762"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3" name="Freeform 328"/>
            <p:cNvSpPr>
              <a:spLocks/>
            </p:cNvSpPr>
            <p:nvPr>
              <p:custDataLst>
                <p:tags r:id="rId222"/>
              </p:custDataLst>
            </p:nvPr>
          </p:nvSpPr>
          <p:spPr bwMode="auto">
            <a:xfrm>
              <a:off x="6516688" y="4248150"/>
              <a:ext cx="7937"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4" name="Freeform 329"/>
            <p:cNvSpPr>
              <a:spLocks/>
            </p:cNvSpPr>
            <p:nvPr>
              <p:custDataLst>
                <p:tags r:id="rId223"/>
              </p:custDataLst>
            </p:nvPr>
          </p:nvSpPr>
          <p:spPr bwMode="auto">
            <a:xfrm>
              <a:off x="6418263" y="409257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5" name="Freeform 330"/>
            <p:cNvSpPr>
              <a:spLocks/>
            </p:cNvSpPr>
            <p:nvPr>
              <p:custDataLst>
                <p:tags r:id="rId224"/>
              </p:custDataLst>
            </p:nvPr>
          </p:nvSpPr>
          <p:spPr bwMode="auto">
            <a:xfrm>
              <a:off x="6946900" y="4456113"/>
              <a:ext cx="11113"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26" name="Freeform 331"/>
            <p:cNvSpPr>
              <a:spLocks/>
            </p:cNvSpPr>
            <p:nvPr>
              <p:custDataLst>
                <p:tags r:id="rId225"/>
              </p:custDataLst>
            </p:nvPr>
          </p:nvSpPr>
          <p:spPr bwMode="auto">
            <a:xfrm>
              <a:off x="7462838" y="441325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3" name="Freeform 332"/>
            <p:cNvSpPr>
              <a:spLocks/>
            </p:cNvSpPr>
            <p:nvPr>
              <p:custDataLst>
                <p:tags r:id="rId226"/>
              </p:custDataLst>
            </p:nvPr>
          </p:nvSpPr>
          <p:spPr bwMode="auto">
            <a:xfrm>
              <a:off x="6400800" y="3995738"/>
              <a:ext cx="274638" cy="368300"/>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324" name="Freeform 333"/>
            <p:cNvSpPr>
              <a:spLocks/>
            </p:cNvSpPr>
            <p:nvPr>
              <p:custDataLst>
                <p:tags r:id="rId227"/>
              </p:custDataLst>
            </p:nvPr>
          </p:nvSpPr>
          <p:spPr bwMode="auto">
            <a:xfrm>
              <a:off x="6742113" y="4044950"/>
              <a:ext cx="254000" cy="257175"/>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325" name="Freeform 334"/>
            <p:cNvSpPr>
              <a:spLocks/>
            </p:cNvSpPr>
            <p:nvPr>
              <p:custDataLst>
                <p:tags r:id="rId228"/>
              </p:custDataLst>
            </p:nvPr>
          </p:nvSpPr>
          <p:spPr bwMode="auto">
            <a:xfrm>
              <a:off x="7097713" y="4451350"/>
              <a:ext cx="92075" cy="57150"/>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326" name="Freeform 335"/>
            <p:cNvSpPr>
              <a:spLocks/>
            </p:cNvSpPr>
            <p:nvPr>
              <p:custDataLst>
                <p:tags r:id="rId229"/>
              </p:custDataLst>
            </p:nvPr>
          </p:nvSpPr>
          <p:spPr bwMode="auto">
            <a:xfrm>
              <a:off x="7213600" y="4117975"/>
              <a:ext cx="42863" cy="88900"/>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431" name="Freeform 336"/>
            <p:cNvSpPr>
              <a:spLocks/>
            </p:cNvSpPr>
            <p:nvPr>
              <p:custDataLst>
                <p:tags r:id="rId230"/>
              </p:custDataLst>
            </p:nvPr>
          </p:nvSpPr>
          <p:spPr bwMode="auto">
            <a:xfrm>
              <a:off x="7226300" y="4262438"/>
              <a:ext cx="71438"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99CCFF"/>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32" name="Freeform 337"/>
            <p:cNvSpPr>
              <a:spLocks/>
            </p:cNvSpPr>
            <p:nvPr>
              <p:custDataLst>
                <p:tags r:id="rId231"/>
              </p:custDataLst>
            </p:nvPr>
          </p:nvSpPr>
          <p:spPr bwMode="auto">
            <a:xfrm>
              <a:off x="7302500" y="418623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00B0F0"/>
            </a:solidFill>
            <a:ln w="9525" cap="flat" cmpd="sng">
              <a:solidFill>
                <a:srgbClr val="FFFFFF"/>
              </a:solidFill>
              <a:prstDash val="solid"/>
              <a:round/>
              <a:headEnd type="none" w="med" len="med"/>
              <a:tailEnd type="none" w="med" len="med"/>
            </a:ln>
          </p:spPr>
          <p:txBody>
            <a:bodyPr/>
            <a:lstStyle/>
            <a:p>
              <a:endParaRPr lang="en-GB"/>
            </a:p>
          </p:txBody>
        </p:sp>
        <p:sp>
          <p:nvSpPr>
            <p:cNvPr id="47433" name="Freeform 338"/>
            <p:cNvSpPr>
              <a:spLocks/>
            </p:cNvSpPr>
            <p:nvPr>
              <p:custDataLst>
                <p:tags r:id="rId232"/>
              </p:custDataLst>
            </p:nvPr>
          </p:nvSpPr>
          <p:spPr bwMode="auto">
            <a:xfrm>
              <a:off x="6991350" y="4124325"/>
              <a:ext cx="166688"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00B0F0"/>
            </a:solidFill>
            <a:ln w="9525" cap="flat" cmpd="sng">
              <a:solidFill>
                <a:srgbClr val="FFFFFF"/>
              </a:solidFill>
              <a:prstDash val="solid"/>
              <a:round/>
              <a:headEnd type="none" w="med" len="med"/>
              <a:tailEnd type="none" w="med" len="med"/>
            </a:ln>
          </p:spPr>
          <p:txBody>
            <a:bodyPr/>
            <a:lstStyle/>
            <a:p>
              <a:endParaRPr lang="en-GB"/>
            </a:p>
          </p:txBody>
        </p:sp>
        <p:sp>
          <p:nvSpPr>
            <p:cNvPr id="330" name="Freeform 339"/>
            <p:cNvSpPr>
              <a:spLocks/>
            </p:cNvSpPr>
            <p:nvPr>
              <p:custDataLst>
                <p:tags r:id="rId233"/>
              </p:custDataLst>
            </p:nvPr>
          </p:nvSpPr>
          <p:spPr bwMode="auto">
            <a:xfrm>
              <a:off x="6656388" y="4365625"/>
              <a:ext cx="250825" cy="95250"/>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331" name="Freeform 340"/>
            <p:cNvSpPr>
              <a:spLocks/>
            </p:cNvSpPr>
            <p:nvPr>
              <p:custDataLst>
                <p:tags r:id="rId234"/>
              </p:custDataLst>
            </p:nvPr>
          </p:nvSpPr>
          <p:spPr bwMode="auto">
            <a:xfrm>
              <a:off x="7337425" y="4222750"/>
              <a:ext cx="214313" cy="252413"/>
            </a:xfrm>
            <a:custGeom>
              <a:avLst/>
              <a:gdLst>
                <a:gd name="T0" fmla="*/ 91828545 w 491"/>
                <a:gd name="T1" fmla="*/ 131905998 h 481"/>
                <a:gd name="T2" fmla="*/ 87065669 w 491"/>
                <a:gd name="T3" fmla="*/ 128051074 h 481"/>
                <a:gd name="T4" fmla="*/ 80397554 w 491"/>
                <a:gd name="T5" fmla="*/ 119514196 h 481"/>
                <a:gd name="T6" fmla="*/ 78492316 w 491"/>
                <a:gd name="T7" fmla="*/ 114832767 h 481"/>
                <a:gd name="T8" fmla="*/ 71633895 w 491"/>
                <a:gd name="T9" fmla="*/ 112905304 h 481"/>
                <a:gd name="T10" fmla="*/ 68585514 w 491"/>
                <a:gd name="T11" fmla="*/ 111803823 h 481"/>
                <a:gd name="T12" fmla="*/ 66680276 w 491"/>
                <a:gd name="T13" fmla="*/ 109049855 h 481"/>
                <a:gd name="T14" fmla="*/ 65918181 w 491"/>
                <a:gd name="T15" fmla="*/ 102991443 h 481"/>
                <a:gd name="T16" fmla="*/ 65156086 w 491"/>
                <a:gd name="T17" fmla="*/ 91425621 h 481"/>
                <a:gd name="T18" fmla="*/ 62298447 w 491"/>
                <a:gd name="T19" fmla="*/ 83439746 h 481"/>
                <a:gd name="T20" fmla="*/ 60774257 w 491"/>
                <a:gd name="T21" fmla="*/ 76279851 h 481"/>
                <a:gd name="T22" fmla="*/ 59821856 w 491"/>
                <a:gd name="T23" fmla="*/ 67192494 h 481"/>
                <a:gd name="T24" fmla="*/ 55630332 w 491"/>
                <a:gd name="T25" fmla="*/ 61409583 h 481"/>
                <a:gd name="T26" fmla="*/ 49534007 w 491"/>
                <a:gd name="T27" fmla="*/ 56452652 h 481"/>
                <a:gd name="T28" fmla="*/ 42103797 w 491"/>
                <a:gd name="T29" fmla="*/ 52321702 h 481"/>
                <a:gd name="T30" fmla="*/ 33911928 w 491"/>
                <a:gd name="T31" fmla="*/ 49843236 h 481"/>
                <a:gd name="T32" fmla="*/ 25338575 w 491"/>
                <a:gd name="T33" fmla="*/ 49017256 h 481"/>
                <a:gd name="T34" fmla="*/ 25338575 w 491"/>
                <a:gd name="T35" fmla="*/ 42958843 h 481"/>
                <a:gd name="T36" fmla="*/ 20956746 w 491"/>
                <a:gd name="T37" fmla="*/ 39929899 h 481"/>
                <a:gd name="T38" fmla="*/ 16193869 w 491"/>
                <a:gd name="T39" fmla="*/ 35798948 h 481"/>
                <a:gd name="T40" fmla="*/ 12574135 w 491"/>
                <a:gd name="T41" fmla="*/ 30567041 h 481"/>
                <a:gd name="T42" fmla="*/ 13907583 w 491"/>
                <a:gd name="T43" fmla="*/ 36625453 h 481"/>
                <a:gd name="T44" fmla="*/ 10287849 w 491"/>
                <a:gd name="T45" fmla="*/ 40480378 h 481"/>
                <a:gd name="T46" fmla="*/ 7620516 w 491"/>
                <a:gd name="T47" fmla="*/ 49017256 h 481"/>
                <a:gd name="T48" fmla="*/ 4572571 w 491"/>
                <a:gd name="T49" fmla="*/ 60583078 h 481"/>
                <a:gd name="T50" fmla="*/ 2476591 w 491"/>
                <a:gd name="T51" fmla="*/ 72975405 h 481"/>
                <a:gd name="T52" fmla="*/ 2667333 w 491"/>
                <a:gd name="T53" fmla="*/ 65264507 h 481"/>
                <a:gd name="T54" fmla="*/ 4381829 w 491"/>
                <a:gd name="T55" fmla="*/ 57554134 h 481"/>
                <a:gd name="T56" fmla="*/ 6096325 w 491"/>
                <a:gd name="T57" fmla="*/ 49843236 h 481"/>
                <a:gd name="T58" fmla="*/ 5715278 w 491"/>
                <a:gd name="T59" fmla="*/ 39378896 h 481"/>
                <a:gd name="T60" fmla="*/ 3238686 w 491"/>
                <a:gd name="T61" fmla="*/ 30567041 h 481"/>
                <a:gd name="T62" fmla="*/ 0 w 491"/>
                <a:gd name="T63" fmla="*/ 20102700 h 481"/>
                <a:gd name="T64" fmla="*/ 6477373 w 491"/>
                <a:gd name="T65" fmla="*/ 16247251 h 481"/>
                <a:gd name="T66" fmla="*/ 11240250 w 491"/>
                <a:gd name="T67" fmla="*/ 15145770 h 481"/>
                <a:gd name="T68" fmla="*/ 16003127 w 491"/>
                <a:gd name="T69" fmla="*/ 15971750 h 481"/>
                <a:gd name="T70" fmla="*/ 19432555 w 491"/>
                <a:gd name="T71" fmla="*/ 18174714 h 481"/>
                <a:gd name="T72" fmla="*/ 23052289 w 491"/>
                <a:gd name="T73" fmla="*/ 22581166 h 481"/>
                <a:gd name="T74" fmla="*/ 26672023 w 491"/>
                <a:gd name="T75" fmla="*/ 30567041 h 481"/>
                <a:gd name="T76" fmla="*/ 34864329 w 491"/>
                <a:gd name="T77" fmla="*/ 28364077 h 481"/>
                <a:gd name="T78" fmla="*/ 37340920 w 491"/>
                <a:gd name="T79" fmla="*/ 26436090 h 481"/>
                <a:gd name="T80" fmla="*/ 38103015 w 491"/>
                <a:gd name="T81" fmla="*/ 24784130 h 481"/>
                <a:gd name="T82" fmla="*/ 39436463 w 491"/>
                <a:gd name="T83" fmla="*/ 20102700 h 481"/>
                <a:gd name="T84" fmla="*/ 44199777 w 491"/>
                <a:gd name="T85" fmla="*/ 14870268 h 481"/>
                <a:gd name="T86" fmla="*/ 48390864 w 491"/>
                <a:gd name="T87" fmla="*/ 13493284 h 481"/>
                <a:gd name="T88" fmla="*/ 50105360 w 491"/>
                <a:gd name="T89" fmla="*/ 8261377 h 481"/>
                <a:gd name="T90" fmla="*/ 53344483 w 491"/>
                <a:gd name="T91" fmla="*/ 2478465 h 481"/>
                <a:gd name="T92" fmla="*/ 57154522 w 491"/>
                <a:gd name="T93" fmla="*/ 275502 h 481"/>
                <a:gd name="T94" fmla="*/ 61536352 w 491"/>
                <a:gd name="T95" fmla="*/ 0 h 481"/>
                <a:gd name="T96" fmla="*/ 66871018 w 491"/>
                <a:gd name="T97" fmla="*/ 2202964 h 481"/>
                <a:gd name="T98" fmla="*/ 76015724 w 491"/>
                <a:gd name="T99" fmla="*/ 10464340 h 481"/>
                <a:gd name="T100" fmla="*/ 81540696 w 491"/>
                <a:gd name="T101" fmla="*/ 14595291 h 481"/>
                <a:gd name="T102" fmla="*/ 87446716 w 491"/>
                <a:gd name="T103" fmla="*/ 16522753 h 481"/>
                <a:gd name="T104" fmla="*/ 93543041 w 491"/>
                <a:gd name="T105" fmla="*/ 18450215 h 481"/>
                <a:gd name="T106" fmla="*/ 93543041 w 491"/>
                <a:gd name="T107" fmla="*/ 89773135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0000"/>
                </a:solidFill>
                <a:latin typeface="Arial" charset="0"/>
                <a:cs typeface="Arial" charset="0"/>
              </a:endParaRPr>
            </a:p>
          </p:txBody>
        </p:sp>
        <p:sp>
          <p:nvSpPr>
            <p:cNvPr id="47436" name="Freeform 341"/>
            <p:cNvSpPr>
              <a:spLocks/>
            </p:cNvSpPr>
            <p:nvPr>
              <p:custDataLst>
                <p:tags r:id="rId235"/>
              </p:custDataLst>
            </p:nvPr>
          </p:nvSpPr>
          <p:spPr bwMode="auto">
            <a:xfrm>
              <a:off x="5868988" y="305435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47437" name="Freeform 342"/>
            <p:cNvSpPr>
              <a:spLocks/>
            </p:cNvSpPr>
            <p:nvPr>
              <p:custDataLst>
                <p:tags r:id="rId236"/>
              </p:custDataLst>
            </p:nvPr>
          </p:nvSpPr>
          <p:spPr bwMode="auto">
            <a:xfrm>
              <a:off x="4325938" y="2459038"/>
              <a:ext cx="220662"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38" name="Freeform 343"/>
            <p:cNvSpPr>
              <a:spLocks/>
            </p:cNvSpPr>
            <p:nvPr>
              <p:custDataLst>
                <p:tags r:id="rId237"/>
              </p:custDataLst>
            </p:nvPr>
          </p:nvSpPr>
          <p:spPr bwMode="auto">
            <a:xfrm>
              <a:off x="4389438" y="266382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39" name="Freeform 344"/>
            <p:cNvSpPr>
              <a:spLocks/>
            </p:cNvSpPr>
            <p:nvPr>
              <p:custDataLst>
                <p:tags r:id="rId238"/>
              </p:custDataLst>
            </p:nvPr>
          </p:nvSpPr>
          <p:spPr bwMode="auto">
            <a:xfrm>
              <a:off x="4489450" y="231933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40" name="Freeform 345"/>
            <p:cNvSpPr>
              <a:spLocks/>
            </p:cNvSpPr>
            <p:nvPr>
              <p:custDataLst>
                <p:tags r:id="rId239"/>
              </p:custDataLst>
            </p:nvPr>
          </p:nvSpPr>
          <p:spPr bwMode="auto">
            <a:xfrm>
              <a:off x="4502150" y="2667000"/>
              <a:ext cx="179388"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41" name="Freeform 346"/>
            <p:cNvSpPr>
              <a:spLocks/>
            </p:cNvSpPr>
            <p:nvPr>
              <p:custDataLst>
                <p:tags r:id="rId240"/>
              </p:custDataLst>
            </p:nvPr>
          </p:nvSpPr>
          <p:spPr bwMode="auto">
            <a:xfrm>
              <a:off x="2501900" y="3705225"/>
              <a:ext cx="14288"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47442" name="Freeform 347"/>
            <p:cNvSpPr>
              <a:spLocks/>
            </p:cNvSpPr>
            <p:nvPr>
              <p:custDataLst>
                <p:tags r:id="rId241"/>
              </p:custDataLst>
            </p:nvPr>
          </p:nvSpPr>
          <p:spPr bwMode="auto">
            <a:xfrm>
              <a:off x="4606925" y="265906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47443" name="Freeform 348"/>
            <p:cNvSpPr>
              <a:spLocks/>
            </p:cNvSpPr>
            <p:nvPr>
              <p:custDataLst>
                <p:tags r:id="rId242"/>
              </p:custDataLst>
            </p:nvPr>
          </p:nvSpPr>
          <p:spPr bwMode="auto">
            <a:xfrm>
              <a:off x="4524375" y="254158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44" name="Freeform 349"/>
            <p:cNvSpPr>
              <a:spLocks/>
            </p:cNvSpPr>
            <p:nvPr>
              <p:custDataLst>
                <p:tags r:id="rId243"/>
              </p:custDataLst>
            </p:nvPr>
          </p:nvSpPr>
          <p:spPr bwMode="auto">
            <a:xfrm>
              <a:off x="5035550" y="288448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47445" name="Freeform 350"/>
            <p:cNvSpPr>
              <a:spLocks/>
            </p:cNvSpPr>
            <p:nvPr>
              <p:custDataLst>
                <p:tags r:id="rId244"/>
              </p:custDataLst>
            </p:nvPr>
          </p:nvSpPr>
          <p:spPr bwMode="auto">
            <a:xfrm>
              <a:off x="5578475" y="2898775"/>
              <a:ext cx="207963"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47446" name="Freeform 351"/>
            <p:cNvSpPr>
              <a:spLocks/>
            </p:cNvSpPr>
            <p:nvPr>
              <p:custDataLst>
                <p:tags r:id="rId245"/>
              </p:custDataLst>
            </p:nvPr>
          </p:nvSpPr>
          <p:spPr bwMode="auto">
            <a:xfrm>
              <a:off x="5627688" y="282733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47447" name="Freeform 352"/>
            <p:cNvSpPr>
              <a:spLocks/>
            </p:cNvSpPr>
            <p:nvPr>
              <p:custDataLst>
                <p:tags r:id="rId246"/>
              </p:custDataLst>
            </p:nvPr>
          </p:nvSpPr>
          <p:spPr bwMode="auto">
            <a:xfrm>
              <a:off x="5233988" y="284321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47448" name="Freeform 353"/>
            <p:cNvSpPr>
              <a:spLocks/>
            </p:cNvSpPr>
            <p:nvPr>
              <p:custDataLst>
                <p:tags r:id="rId247"/>
              </p:custDataLst>
            </p:nvPr>
          </p:nvSpPr>
          <p:spPr bwMode="auto">
            <a:xfrm>
              <a:off x="4443413" y="273050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49" name="Freeform 354"/>
            <p:cNvSpPr>
              <a:spLocks/>
            </p:cNvSpPr>
            <p:nvPr>
              <p:custDataLst>
                <p:tags r:id="rId248"/>
              </p:custDataLst>
            </p:nvPr>
          </p:nvSpPr>
          <p:spPr bwMode="auto">
            <a:xfrm>
              <a:off x="4491038" y="2838450"/>
              <a:ext cx="68262"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50" name="Freeform 355"/>
            <p:cNvSpPr>
              <a:spLocks/>
            </p:cNvSpPr>
            <p:nvPr>
              <p:custDataLst>
                <p:tags r:id="rId249"/>
              </p:custDataLst>
            </p:nvPr>
          </p:nvSpPr>
          <p:spPr bwMode="auto">
            <a:xfrm>
              <a:off x="4575175" y="3462338"/>
              <a:ext cx="411163"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347" name="Freeform 356"/>
            <p:cNvSpPr>
              <a:spLocks/>
            </p:cNvSpPr>
            <p:nvPr>
              <p:custDataLst>
                <p:tags r:id="rId250"/>
              </p:custDataLst>
            </p:nvPr>
          </p:nvSpPr>
          <p:spPr bwMode="auto">
            <a:xfrm>
              <a:off x="5059363" y="3802063"/>
              <a:ext cx="244475" cy="43180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452" name="Freeform 357"/>
            <p:cNvSpPr>
              <a:spLocks/>
            </p:cNvSpPr>
            <p:nvPr>
              <p:custDataLst>
                <p:tags r:id="rId251"/>
              </p:custDataLst>
            </p:nvPr>
          </p:nvSpPr>
          <p:spPr bwMode="auto">
            <a:xfrm>
              <a:off x="5067300" y="378936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349" name="Freeform 358"/>
            <p:cNvSpPr>
              <a:spLocks/>
            </p:cNvSpPr>
            <p:nvPr>
              <p:custDataLst>
                <p:tags r:id="rId252"/>
              </p:custDataLst>
            </p:nvPr>
          </p:nvSpPr>
          <p:spPr bwMode="auto">
            <a:xfrm>
              <a:off x="4873625" y="3681413"/>
              <a:ext cx="363538" cy="376237"/>
            </a:xfrm>
            <a:custGeom>
              <a:avLst/>
              <a:gdLst>
                <a:gd name="T0" fmla="*/ 33686328 w 845"/>
                <a:gd name="T1" fmla="*/ 9830263 h 720"/>
                <a:gd name="T2" fmla="*/ 37943368 w 845"/>
                <a:gd name="T3" fmla="*/ 7645470 h 720"/>
                <a:gd name="T4" fmla="*/ 45717467 w 845"/>
                <a:gd name="T5" fmla="*/ 0 h 720"/>
                <a:gd name="T6" fmla="*/ 50529492 w 845"/>
                <a:gd name="T7" fmla="*/ 3276928 h 720"/>
                <a:gd name="T8" fmla="*/ 60524393 w 845"/>
                <a:gd name="T9" fmla="*/ 10103035 h 720"/>
                <a:gd name="T10" fmla="*/ 70334299 w 845"/>
                <a:gd name="T11" fmla="*/ 18295095 h 720"/>
                <a:gd name="T12" fmla="*/ 78848379 w 845"/>
                <a:gd name="T13" fmla="*/ 26759928 h 720"/>
                <a:gd name="T14" fmla="*/ 81810022 w 845"/>
                <a:gd name="T15" fmla="*/ 34132625 h 720"/>
                <a:gd name="T16" fmla="*/ 81995017 w 845"/>
                <a:gd name="T17" fmla="*/ 38228394 h 720"/>
                <a:gd name="T18" fmla="*/ 84771236 w 845"/>
                <a:gd name="T19" fmla="*/ 40139892 h 720"/>
                <a:gd name="T20" fmla="*/ 92359909 w 845"/>
                <a:gd name="T21" fmla="*/ 48604724 h 720"/>
                <a:gd name="T22" fmla="*/ 93655736 w 845"/>
                <a:gd name="T23" fmla="*/ 46966521 h 720"/>
                <a:gd name="T24" fmla="*/ 90324102 w 845"/>
                <a:gd name="T25" fmla="*/ 50243450 h 720"/>
                <a:gd name="T26" fmla="*/ 89028275 w 845"/>
                <a:gd name="T27" fmla="*/ 55158581 h 720"/>
                <a:gd name="T28" fmla="*/ 89028275 w 845"/>
                <a:gd name="T29" fmla="*/ 68811317 h 720"/>
                <a:gd name="T30" fmla="*/ 91249508 w 845"/>
                <a:gd name="T31" fmla="*/ 72088246 h 720"/>
                <a:gd name="T32" fmla="*/ 97357360 w 845"/>
                <a:gd name="T33" fmla="*/ 72361018 h 720"/>
                <a:gd name="T34" fmla="*/ 100874419 w 845"/>
                <a:gd name="T35" fmla="*/ 87106413 h 720"/>
                <a:gd name="T36" fmla="*/ 107907677 w 845"/>
                <a:gd name="T37" fmla="*/ 98575401 h 720"/>
                <a:gd name="T38" fmla="*/ 119383400 w 845"/>
                <a:gd name="T39" fmla="*/ 109224504 h 720"/>
                <a:gd name="T40" fmla="*/ 136596554 w 845"/>
                <a:gd name="T41" fmla="*/ 117416564 h 720"/>
                <a:gd name="T42" fmla="*/ 156401361 w 845"/>
                <a:gd name="T43" fmla="*/ 122604468 h 720"/>
                <a:gd name="T44" fmla="*/ 150108084 w 845"/>
                <a:gd name="T45" fmla="*/ 131615368 h 720"/>
                <a:gd name="T46" fmla="*/ 135301158 w 845"/>
                <a:gd name="T47" fmla="*/ 149364396 h 720"/>
                <a:gd name="T48" fmla="*/ 131784529 w 845"/>
                <a:gd name="T49" fmla="*/ 158102523 h 720"/>
                <a:gd name="T50" fmla="*/ 129007880 w 845"/>
                <a:gd name="T51" fmla="*/ 168478854 h 720"/>
                <a:gd name="T52" fmla="*/ 124750841 w 845"/>
                <a:gd name="T53" fmla="*/ 171755782 h 720"/>
                <a:gd name="T54" fmla="*/ 107352261 w 845"/>
                <a:gd name="T55" fmla="*/ 178855184 h 720"/>
                <a:gd name="T56" fmla="*/ 103465642 w 845"/>
                <a:gd name="T57" fmla="*/ 183224248 h 720"/>
                <a:gd name="T58" fmla="*/ 97172365 w 845"/>
                <a:gd name="T59" fmla="*/ 185954586 h 720"/>
                <a:gd name="T60" fmla="*/ 89213701 w 845"/>
                <a:gd name="T61" fmla="*/ 189231515 h 720"/>
                <a:gd name="T62" fmla="*/ 85326651 w 845"/>
                <a:gd name="T63" fmla="*/ 185681814 h 720"/>
                <a:gd name="T64" fmla="*/ 79033374 w 845"/>
                <a:gd name="T65" fmla="*/ 185408519 h 720"/>
                <a:gd name="T66" fmla="*/ 74961760 w 845"/>
                <a:gd name="T67" fmla="*/ 190869718 h 720"/>
                <a:gd name="T68" fmla="*/ 72185111 w 845"/>
                <a:gd name="T69" fmla="*/ 194966009 h 720"/>
                <a:gd name="T70" fmla="*/ 66632675 w 845"/>
                <a:gd name="T71" fmla="*/ 196604212 h 720"/>
                <a:gd name="T72" fmla="*/ 58858576 w 845"/>
                <a:gd name="T73" fmla="*/ 194966009 h 720"/>
                <a:gd name="T74" fmla="*/ 53491135 w 845"/>
                <a:gd name="T75" fmla="*/ 190596945 h 720"/>
                <a:gd name="T76" fmla="*/ 45532041 w 845"/>
                <a:gd name="T77" fmla="*/ 183224248 h 720"/>
                <a:gd name="T78" fmla="*/ 33501333 w 845"/>
                <a:gd name="T79" fmla="*/ 180493387 h 720"/>
                <a:gd name="T80" fmla="*/ 25912659 w 845"/>
                <a:gd name="T81" fmla="*/ 178309117 h 720"/>
                <a:gd name="T82" fmla="*/ 27948466 w 845"/>
                <a:gd name="T83" fmla="*/ 167659491 h 720"/>
                <a:gd name="T84" fmla="*/ 23506431 w 845"/>
                <a:gd name="T85" fmla="*/ 162744360 h 720"/>
                <a:gd name="T86" fmla="*/ 19989803 w 845"/>
                <a:gd name="T87" fmla="*/ 159194659 h 720"/>
                <a:gd name="T88" fmla="*/ 17213585 w 845"/>
                <a:gd name="T89" fmla="*/ 150457054 h 720"/>
                <a:gd name="T90" fmla="*/ 14251941 w 845"/>
                <a:gd name="T91" fmla="*/ 139534133 h 720"/>
                <a:gd name="T92" fmla="*/ 9069495 w 845"/>
                <a:gd name="T93" fmla="*/ 133526866 h 720"/>
                <a:gd name="T94" fmla="*/ 2961643 w 845"/>
                <a:gd name="T95" fmla="*/ 130250460 h 720"/>
                <a:gd name="T96" fmla="*/ 925406 w 845"/>
                <a:gd name="T97" fmla="*/ 128885030 h 720"/>
                <a:gd name="T98" fmla="*/ 369990 w 845"/>
                <a:gd name="T99" fmla="*/ 122331695 h 720"/>
                <a:gd name="T100" fmla="*/ 3887049 w 845"/>
                <a:gd name="T101" fmla="*/ 115231771 h 720"/>
                <a:gd name="T102" fmla="*/ 10179896 w 845"/>
                <a:gd name="T103" fmla="*/ 112774205 h 720"/>
                <a:gd name="T104" fmla="*/ 12401129 w 845"/>
                <a:gd name="T105" fmla="*/ 87652480 h 720"/>
                <a:gd name="T106" fmla="*/ 15177347 w 845"/>
                <a:gd name="T107" fmla="*/ 75091879 h 720"/>
                <a:gd name="T108" fmla="*/ 17583575 w 845"/>
                <a:gd name="T109" fmla="*/ 70996111 h 720"/>
                <a:gd name="T110" fmla="*/ 19064397 w 845"/>
                <a:gd name="T111" fmla="*/ 64442254 h 720"/>
                <a:gd name="T112" fmla="*/ 21470624 w 845"/>
                <a:gd name="T113" fmla="*/ 56250716 h 720"/>
                <a:gd name="T114" fmla="*/ 27393481 w 845"/>
                <a:gd name="T115" fmla="*/ 48604724 h 720"/>
                <a:gd name="T116" fmla="*/ 30910110 w 845"/>
                <a:gd name="T117" fmla="*/ 43689593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454" name="Line 359"/>
            <p:cNvSpPr>
              <a:spLocks noChangeShapeType="1"/>
            </p:cNvSpPr>
            <p:nvPr>
              <p:custDataLst>
                <p:tags r:id="rId253"/>
              </p:custDataLst>
            </p:nvPr>
          </p:nvSpPr>
          <p:spPr bwMode="auto">
            <a:xfrm flipH="1">
              <a:off x="1725613" y="4219575"/>
              <a:ext cx="4762"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455" name="Freeform 360"/>
            <p:cNvSpPr>
              <a:spLocks/>
            </p:cNvSpPr>
            <p:nvPr>
              <p:custDataLst>
                <p:tags r:id="rId254"/>
              </p:custDataLst>
            </p:nvPr>
          </p:nvSpPr>
          <p:spPr bwMode="auto">
            <a:xfrm>
              <a:off x="1725613" y="422751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47456" name="Freeform 361"/>
            <p:cNvSpPr>
              <a:spLocks/>
            </p:cNvSpPr>
            <p:nvPr>
              <p:custDataLst>
                <p:tags r:id="rId255"/>
              </p:custDataLst>
            </p:nvPr>
          </p:nvSpPr>
          <p:spPr bwMode="auto">
            <a:xfrm>
              <a:off x="1733550" y="4214813"/>
              <a:ext cx="4763"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457" name="Freeform 363"/>
            <p:cNvSpPr>
              <a:spLocks/>
            </p:cNvSpPr>
            <p:nvPr/>
          </p:nvSpPr>
          <p:spPr bwMode="auto">
            <a:xfrm>
              <a:off x="1990725" y="4149725"/>
              <a:ext cx="152400" cy="201613"/>
            </a:xfrm>
            <a:custGeom>
              <a:avLst/>
              <a:gdLst>
                <a:gd name="T0" fmla="*/ 2147483647 w 352"/>
                <a:gd name="T1" fmla="*/ 2147483647 h 387"/>
                <a:gd name="T2" fmla="*/ 2147483647 w 352"/>
                <a:gd name="T3" fmla="*/ 2147483647 h 387"/>
                <a:gd name="T4" fmla="*/ 2147483647 w 352"/>
                <a:gd name="T5" fmla="*/ 2147483647 h 387"/>
                <a:gd name="T6" fmla="*/ 2147483647 w 352"/>
                <a:gd name="T7" fmla="*/ 2147483647 h 387"/>
                <a:gd name="T8" fmla="*/ 2147483647 w 352"/>
                <a:gd name="T9" fmla="*/ 2147483647 h 387"/>
                <a:gd name="T10" fmla="*/ 2147483647 w 352"/>
                <a:gd name="T11" fmla="*/ 2147483647 h 387"/>
                <a:gd name="T12" fmla="*/ 2147483647 w 352"/>
                <a:gd name="T13" fmla="*/ 2147483647 h 387"/>
                <a:gd name="T14" fmla="*/ 2147483647 w 352"/>
                <a:gd name="T15" fmla="*/ 2147483647 h 387"/>
                <a:gd name="T16" fmla="*/ 2147483647 w 352"/>
                <a:gd name="T17" fmla="*/ 2147483647 h 387"/>
                <a:gd name="T18" fmla="*/ 2147483647 w 352"/>
                <a:gd name="T19" fmla="*/ 2147483647 h 387"/>
                <a:gd name="T20" fmla="*/ 2147483647 w 352"/>
                <a:gd name="T21" fmla="*/ 2147483647 h 387"/>
                <a:gd name="T22" fmla="*/ 2147483647 w 352"/>
                <a:gd name="T23" fmla="*/ 2147483647 h 387"/>
                <a:gd name="T24" fmla="*/ 2147483647 w 352"/>
                <a:gd name="T25" fmla="*/ 2147483647 h 387"/>
                <a:gd name="T26" fmla="*/ 2147483647 w 352"/>
                <a:gd name="T27" fmla="*/ 2147483647 h 387"/>
                <a:gd name="T28" fmla="*/ 2147483647 w 352"/>
                <a:gd name="T29" fmla="*/ 2147483647 h 387"/>
                <a:gd name="T30" fmla="*/ 0 w 352"/>
                <a:gd name="T31" fmla="*/ 2147483647 h 387"/>
                <a:gd name="T32" fmla="*/ 0 w 352"/>
                <a:gd name="T33" fmla="*/ 2147483647 h 387"/>
                <a:gd name="T34" fmla="*/ 2147483647 w 352"/>
                <a:gd name="T35" fmla="*/ 2147483647 h 387"/>
                <a:gd name="T36" fmla="*/ 2147483647 w 352"/>
                <a:gd name="T37" fmla="*/ 2147483647 h 387"/>
                <a:gd name="T38" fmla="*/ 2147483647 w 352"/>
                <a:gd name="T39" fmla="*/ 2147483647 h 387"/>
                <a:gd name="T40" fmla="*/ 2147483647 w 352"/>
                <a:gd name="T41" fmla="*/ 2147483647 h 387"/>
                <a:gd name="T42" fmla="*/ 2147483647 w 352"/>
                <a:gd name="T43" fmla="*/ 2147483647 h 387"/>
                <a:gd name="T44" fmla="*/ 2147483647 w 352"/>
                <a:gd name="T45" fmla="*/ 2147483647 h 387"/>
                <a:gd name="T46" fmla="*/ 2147483647 w 352"/>
                <a:gd name="T47" fmla="*/ 2147483647 h 387"/>
                <a:gd name="T48" fmla="*/ 2147483647 w 352"/>
                <a:gd name="T49" fmla="*/ 2147483647 h 387"/>
                <a:gd name="T50" fmla="*/ 2147483647 w 352"/>
                <a:gd name="T51" fmla="*/ 2147483647 h 387"/>
                <a:gd name="T52" fmla="*/ 2147483647 w 352"/>
                <a:gd name="T53" fmla="*/ 2147483647 h 387"/>
                <a:gd name="T54" fmla="*/ 2147483647 w 352"/>
                <a:gd name="T55" fmla="*/ 2147483647 h 387"/>
                <a:gd name="T56" fmla="*/ 2147483647 w 352"/>
                <a:gd name="T57" fmla="*/ 2147483647 h 387"/>
                <a:gd name="T58" fmla="*/ 2147483647 w 352"/>
                <a:gd name="T59" fmla="*/ 2147483647 h 387"/>
                <a:gd name="T60" fmla="*/ 2147483647 w 352"/>
                <a:gd name="T61" fmla="*/ 2147483647 h 387"/>
                <a:gd name="T62" fmla="*/ 2147483647 w 352"/>
                <a:gd name="T63" fmla="*/ 2147483647 h 387"/>
                <a:gd name="T64" fmla="*/ 2147483647 w 352"/>
                <a:gd name="T65" fmla="*/ 2147483647 h 387"/>
                <a:gd name="T66" fmla="*/ 2147483647 w 352"/>
                <a:gd name="T67" fmla="*/ 2147483647 h 387"/>
                <a:gd name="T68" fmla="*/ 2147483647 w 352"/>
                <a:gd name="T69" fmla="*/ 2147483647 h 387"/>
                <a:gd name="T70" fmla="*/ 2147483647 w 352"/>
                <a:gd name="T71" fmla="*/ 2147483647 h 387"/>
                <a:gd name="T72" fmla="*/ 2147483647 w 352"/>
                <a:gd name="T73" fmla="*/ 2147483647 h 387"/>
                <a:gd name="T74" fmla="*/ 2147483647 w 352"/>
                <a:gd name="T75" fmla="*/ 2147483647 h 387"/>
                <a:gd name="T76" fmla="*/ 2147483647 w 352"/>
                <a:gd name="T77" fmla="*/ 2147483647 h 387"/>
                <a:gd name="T78" fmla="*/ 2147483647 w 352"/>
                <a:gd name="T79" fmla="*/ 2147483647 h 387"/>
                <a:gd name="T80" fmla="*/ 2147483647 w 352"/>
                <a:gd name="T81" fmla="*/ 2147483647 h 387"/>
                <a:gd name="T82" fmla="*/ 2147483647 w 352"/>
                <a:gd name="T83" fmla="*/ 2147483647 h 387"/>
                <a:gd name="T84" fmla="*/ 2147483647 w 352"/>
                <a:gd name="T85" fmla="*/ 2147483647 h 387"/>
                <a:gd name="T86" fmla="*/ 2147483647 w 352"/>
                <a:gd name="T87" fmla="*/ 2147483647 h 387"/>
                <a:gd name="T88" fmla="*/ 2147483647 w 352"/>
                <a:gd name="T89" fmla="*/ 2147483647 h 387"/>
                <a:gd name="T90" fmla="*/ 2147483647 w 352"/>
                <a:gd name="T91" fmla="*/ 2147483647 h 387"/>
                <a:gd name="T92" fmla="*/ 2147483647 w 352"/>
                <a:gd name="T93" fmla="*/ 2147483647 h 387"/>
                <a:gd name="T94" fmla="*/ 2147483647 w 352"/>
                <a:gd name="T95" fmla="*/ 2147483647 h 387"/>
                <a:gd name="T96" fmla="*/ 2147483647 w 352"/>
                <a:gd name="T97" fmla="*/ 2147483647 h 387"/>
                <a:gd name="T98" fmla="*/ 2147483647 w 352"/>
                <a:gd name="T99" fmla="*/ 2147483647 h 387"/>
                <a:gd name="T100" fmla="*/ 2147483647 w 352"/>
                <a:gd name="T101" fmla="*/ 2147483647 h 387"/>
                <a:gd name="T102" fmla="*/ 2147483647 w 352"/>
                <a:gd name="T103" fmla="*/ 2147483647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58" name="Freeform 364"/>
            <p:cNvSpPr>
              <a:spLocks/>
            </p:cNvSpPr>
            <p:nvPr/>
          </p:nvSpPr>
          <p:spPr bwMode="auto">
            <a:xfrm>
              <a:off x="1739900" y="4206875"/>
              <a:ext cx="23813" cy="41275"/>
            </a:xfrm>
            <a:custGeom>
              <a:avLst/>
              <a:gdLst>
                <a:gd name="T0" fmla="*/ 2147483647 w 52"/>
                <a:gd name="T1" fmla="*/ 0 h 78"/>
                <a:gd name="T2" fmla="*/ 2147483647 w 52"/>
                <a:gd name="T3" fmla="*/ 0 h 78"/>
                <a:gd name="T4" fmla="*/ 2147483647 w 52"/>
                <a:gd name="T5" fmla="*/ 2147483647 h 78"/>
                <a:gd name="T6" fmla="*/ 2147483647 w 52"/>
                <a:gd name="T7" fmla="*/ 2147483647 h 78"/>
                <a:gd name="T8" fmla="*/ 2147483647 w 52"/>
                <a:gd name="T9" fmla="*/ 2147483647 h 78"/>
                <a:gd name="T10" fmla="*/ 2147483647 w 52"/>
                <a:gd name="T11" fmla="*/ 2147483647 h 78"/>
                <a:gd name="T12" fmla="*/ 2147483647 w 52"/>
                <a:gd name="T13" fmla="*/ 2147483647 h 78"/>
                <a:gd name="T14" fmla="*/ 2147483647 w 52"/>
                <a:gd name="T15" fmla="*/ 2147483647 h 78"/>
                <a:gd name="T16" fmla="*/ 2147483647 w 52"/>
                <a:gd name="T17" fmla="*/ 2147483647 h 78"/>
                <a:gd name="T18" fmla="*/ 2147483647 w 52"/>
                <a:gd name="T19" fmla="*/ 2147483647 h 78"/>
                <a:gd name="T20" fmla="*/ 2147483647 w 52"/>
                <a:gd name="T21" fmla="*/ 2147483647 h 78"/>
                <a:gd name="T22" fmla="*/ 2147483647 w 52"/>
                <a:gd name="T23" fmla="*/ 2147483647 h 78"/>
                <a:gd name="T24" fmla="*/ 2147483647 w 52"/>
                <a:gd name="T25" fmla="*/ 2147483647 h 78"/>
                <a:gd name="T26" fmla="*/ 2147483647 w 52"/>
                <a:gd name="T27" fmla="*/ 2147483647 h 78"/>
                <a:gd name="T28" fmla="*/ 2147483647 w 52"/>
                <a:gd name="T29" fmla="*/ 2147483647 h 78"/>
                <a:gd name="T30" fmla="*/ 2147483647 w 52"/>
                <a:gd name="T31" fmla="*/ 2147483647 h 78"/>
                <a:gd name="T32" fmla="*/ 2147483647 w 52"/>
                <a:gd name="T33" fmla="*/ 2147483647 h 78"/>
                <a:gd name="T34" fmla="*/ 2147483647 w 52"/>
                <a:gd name="T35" fmla="*/ 2147483647 h 78"/>
                <a:gd name="T36" fmla="*/ 2147483647 w 52"/>
                <a:gd name="T37" fmla="*/ 2147483647 h 78"/>
                <a:gd name="T38" fmla="*/ 2147483647 w 52"/>
                <a:gd name="T39" fmla="*/ 2147483647 h 78"/>
                <a:gd name="T40" fmla="*/ 2147483647 w 52"/>
                <a:gd name="T41" fmla="*/ 2147483647 h 78"/>
                <a:gd name="T42" fmla="*/ 2147483647 w 52"/>
                <a:gd name="T43" fmla="*/ 2147483647 h 78"/>
                <a:gd name="T44" fmla="*/ 2147483647 w 52"/>
                <a:gd name="T45" fmla="*/ 2147483647 h 78"/>
                <a:gd name="T46" fmla="*/ 2147483647 w 52"/>
                <a:gd name="T47" fmla="*/ 2147483647 h 78"/>
                <a:gd name="T48" fmla="*/ 2147483647 w 52"/>
                <a:gd name="T49" fmla="*/ 2147483647 h 78"/>
                <a:gd name="T50" fmla="*/ 0 w 52"/>
                <a:gd name="T51" fmla="*/ 2147483647 h 78"/>
                <a:gd name="T52" fmla="*/ 2147483647 w 52"/>
                <a:gd name="T53" fmla="*/ 2147483647 h 78"/>
                <a:gd name="T54" fmla="*/ 2147483647 w 52"/>
                <a:gd name="T55" fmla="*/ 2147483647 h 78"/>
                <a:gd name="T56" fmla="*/ 2147483647 w 52"/>
                <a:gd name="T57" fmla="*/ 2147483647 h 78"/>
                <a:gd name="T58" fmla="*/ 2147483647 w 52"/>
                <a:gd name="T59" fmla="*/ 2147483647 h 78"/>
                <a:gd name="T60" fmla="*/ 2147483647 w 52"/>
                <a:gd name="T61" fmla="*/ 2147483647 h 78"/>
                <a:gd name="T62" fmla="*/ 2147483647 w 52"/>
                <a:gd name="T63" fmla="*/ 2147483647 h 78"/>
                <a:gd name="T64" fmla="*/ 2147483647 w 52"/>
                <a:gd name="T65" fmla="*/ 2147483647 h 78"/>
                <a:gd name="T66" fmla="*/ 2147483647 w 52"/>
                <a:gd name="T67" fmla="*/ 2147483647 h 78"/>
                <a:gd name="T68" fmla="*/ 2147483647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59" name="Freeform 365"/>
            <p:cNvSpPr>
              <a:spLocks/>
            </p:cNvSpPr>
            <p:nvPr/>
          </p:nvSpPr>
          <p:spPr bwMode="auto">
            <a:xfrm>
              <a:off x="1725613" y="4213225"/>
              <a:ext cx="12700" cy="15875"/>
            </a:xfrm>
            <a:custGeom>
              <a:avLst/>
              <a:gdLst>
                <a:gd name="T0" fmla="*/ 2147483647 w 33"/>
                <a:gd name="T1" fmla="*/ 2147483647 h 30"/>
                <a:gd name="T2" fmla="*/ 0 w 33"/>
                <a:gd name="T3" fmla="*/ 2147483647 h 30"/>
                <a:gd name="T4" fmla="*/ 2147483647 w 33"/>
                <a:gd name="T5" fmla="*/ 2147483647 h 30"/>
                <a:gd name="T6" fmla="*/ 2147483647 w 33"/>
                <a:gd name="T7" fmla="*/ 2147483647 h 30"/>
                <a:gd name="T8" fmla="*/ 2147483647 w 33"/>
                <a:gd name="T9" fmla="*/ 2147483647 h 30"/>
                <a:gd name="T10" fmla="*/ 2147483647 w 33"/>
                <a:gd name="T11" fmla="*/ 2147483647 h 30"/>
                <a:gd name="T12" fmla="*/ 2147483647 w 33"/>
                <a:gd name="T13" fmla="*/ 0 h 30"/>
                <a:gd name="T14" fmla="*/ 2147483647 w 33"/>
                <a:gd name="T15" fmla="*/ 0 h 30"/>
                <a:gd name="T16" fmla="*/ 2147483647 w 33"/>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60" name="Freeform 366"/>
            <p:cNvSpPr>
              <a:spLocks/>
            </p:cNvSpPr>
            <p:nvPr>
              <p:custDataLst>
                <p:tags r:id="rId256"/>
              </p:custDataLst>
            </p:nvPr>
          </p:nvSpPr>
          <p:spPr bwMode="auto">
            <a:xfrm>
              <a:off x="5373688" y="486727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461" name="Freeform 367"/>
            <p:cNvSpPr>
              <a:spLocks/>
            </p:cNvSpPr>
            <p:nvPr>
              <p:custDataLst>
                <p:tags r:id="rId257"/>
              </p:custDataLst>
            </p:nvPr>
          </p:nvSpPr>
          <p:spPr bwMode="auto">
            <a:xfrm>
              <a:off x="5345113" y="4894263"/>
              <a:ext cx="23812"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462" name="Freeform 369"/>
            <p:cNvSpPr>
              <a:spLocks/>
            </p:cNvSpPr>
            <p:nvPr/>
          </p:nvSpPr>
          <p:spPr bwMode="auto">
            <a:xfrm>
              <a:off x="5322888" y="4425950"/>
              <a:ext cx="7937" cy="9525"/>
            </a:xfrm>
            <a:custGeom>
              <a:avLst/>
              <a:gdLst>
                <a:gd name="T0" fmla="*/ 2147483647 w 13"/>
                <a:gd name="T1" fmla="*/ 0 h 18"/>
                <a:gd name="T2" fmla="*/ 2147483647 w 13"/>
                <a:gd name="T3" fmla="*/ 2147483647 h 18"/>
                <a:gd name="T4" fmla="*/ 2147483647 w 13"/>
                <a:gd name="T5" fmla="*/ 2147483647 h 18"/>
                <a:gd name="T6" fmla="*/ 2147483647 w 13"/>
                <a:gd name="T7" fmla="*/ 2147483647 h 18"/>
                <a:gd name="T8" fmla="*/ 2147483647 w 13"/>
                <a:gd name="T9" fmla="*/ 2147483647 h 18"/>
                <a:gd name="T10" fmla="*/ 2147483647 w 13"/>
                <a:gd name="T11" fmla="*/ 2147483647 h 18"/>
                <a:gd name="T12" fmla="*/ 0 w 13"/>
                <a:gd name="T13" fmla="*/ 2147483647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7463" name="Line 370"/>
            <p:cNvSpPr>
              <a:spLocks noChangeShapeType="1"/>
            </p:cNvSpPr>
            <p:nvPr/>
          </p:nvSpPr>
          <p:spPr bwMode="auto">
            <a:xfrm>
              <a:off x="5322888" y="4429125"/>
              <a:ext cx="3175"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464" name="Freeform 371"/>
            <p:cNvSpPr>
              <a:spLocks/>
            </p:cNvSpPr>
            <p:nvPr/>
          </p:nvSpPr>
          <p:spPr bwMode="auto">
            <a:xfrm>
              <a:off x="5284788" y="4459288"/>
              <a:ext cx="6350" cy="9525"/>
            </a:xfrm>
            <a:custGeom>
              <a:avLst/>
              <a:gdLst>
                <a:gd name="T0" fmla="*/ 2147483647 w 14"/>
                <a:gd name="T1" fmla="*/ 2147483647 h 19"/>
                <a:gd name="T2" fmla="*/ 0 w 14"/>
                <a:gd name="T3" fmla="*/ 0 h 19"/>
                <a:gd name="T4" fmla="*/ 2147483647 w 14"/>
                <a:gd name="T5" fmla="*/ 2147483647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47465" name="Freeform 372"/>
            <p:cNvSpPr>
              <a:spLocks/>
            </p:cNvSpPr>
            <p:nvPr/>
          </p:nvSpPr>
          <p:spPr bwMode="auto">
            <a:xfrm>
              <a:off x="5249863" y="4479925"/>
              <a:ext cx="3175" cy="9525"/>
            </a:xfrm>
            <a:custGeom>
              <a:avLst/>
              <a:gdLst>
                <a:gd name="T0" fmla="*/ 0 w 7"/>
                <a:gd name="T1" fmla="*/ 2147483647 h 18"/>
                <a:gd name="T2" fmla="*/ 2147483647 w 7"/>
                <a:gd name="T3" fmla="*/ 2147483647 h 18"/>
                <a:gd name="T4" fmla="*/ 0 w 7"/>
                <a:gd name="T5" fmla="*/ 2147483647 h 18"/>
                <a:gd name="T6" fmla="*/ 0 w 7"/>
                <a:gd name="T7" fmla="*/ 0 h 18"/>
                <a:gd name="T8" fmla="*/ 2147483647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47466" name="Freeform 373"/>
            <p:cNvSpPr>
              <a:spLocks/>
            </p:cNvSpPr>
            <p:nvPr/>
          </p:nvSpPr>
          <p:spPr bwMode="auto">
            <a:xfrm>
              <a:off x="5345113" y="4386263"/>
              <a:ext cx="9525" cy="6350"/>
            </a:xfrm>
            <a:custGeom>
              <a:avLst/>
              <a:gdLst>
                <a:gd name="T0" fmla="*/ 2147483647 w 20"/>
                <a:gd name="T1" fmla="*/ 2147483647 h 12"/>
                <a:gd name="T2" fmla="*/ 2147483647 w 20"/>
                <a:gd name="T3" fmla="*/ 2147483647 h 12"/>
                <a:gd name="T4" fmla="*/ 0 w 20"/>
                <a:gd name="T5" fmla="*/ 2147483647 h 12"/>
                <a:gd name="T6" fmla="*/ 2147483647 w 20"/>
                <a:gd name="T7" fmla="*/ 2147483647 h 12"/>
                <a:gd name="T8" fmla="*/ 2147483647 w 20"/>
                <a:gd name="T9" fmla="*/ 2147483647 h 12"/>
                <a:gd name="T10" fmla="*/ 2147483647 w 20"/>
                <a:gd name="T11" fmla="*/ 2147483647 h 12"/>
                <a:gd name="T12" fmla="*/ 2147483647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467" name="Line 374"/>
            <p:cNvSpPr>
              <a:spLocks noChangeShapeType="1"/>
            </p:cNvSpPr>
            <p:nvPr/>
          </p:nvSpPr>
          <p:spPr bwMode="auto">
            <a:xfrm>
              <a:off x="5349875" y="4386263"/>
              <a:ext cx="1588"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468" name="Freeform 375"/>
            <p:cNvSpPr>
              <a:spLocks/>
            </p:cNvSpPr>
            <p:nvPr/>
          </p:nvSpPr>
          <p:spPr bwMode="auto">
            <a:xfrm>
              <a:off x="5186363" y="4473575"/>
              <a:ext cx="9525" cy="9525"/>
            </a:xfrm>
            <a:custGeom>
              <a:avLst/>
              <a:gdLst>
                <a:gd name="T0" fmla="*/ 0 w 20"/>
                <a:gd name="T1" fmla="*/ 0 h 18"/>
                <a:gd name="T2" fmla="*/ 0 w 20"/>
                <a:gd name="T3" fmla="*/ 2147483647 h 18"/>
                <a:gd name="T4" fmla="*/ 2147483647 w 20"/>
                <a:gd name="T5" fmla="*/ 2147483647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47469" name="Freeform 376"/>
            <p:cNvSpPr>
              <a:spLocks/>
            </p:cNvSpPr>
            <p:nvPr/>
          </p:nvSpPr>
          <p:spPr bwMode="auto">
            <a:xfrm>
              <a:off x="5191125" y="4476750"/>
              <a:ext cx="4763" cy="6350"/>
            </a:xfrm>
            <a:custGeom>
              <a:avLst/>
              <a:gdLst>
                <a:gd name="T0" fmla="*/ 2147483647 w 7"/>
                <a:gd name="T1" fmla="*/ 2147483647 h 12"/>
                <a:gd name="T2" fmla="*/ 2147483647 w 7"/>
                <a:gd name="T3" fmla="*/ 2147483647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470" name="Freeform 377"/>
            <p:cNvSpPr>
              <a:spLocks/>
            </p:cNvSpPr>
            <p:nvPr/>
          </p:nvSpPr>
          <p:spPr bwMode="auto">
            <a:xfrm>
              <a:off x="5186363" y="4473575"/>
              <a:ext cx="9525" cy="9525"/>
            </a:xfrm>
            <a:custGeom>
              <a:avLst/>
              <a:gdLst>
                <a:gd name="T0" fmla="*/ 0 w 20"/>
                <a:gd name="T1" fmla="*/ 0 h 18"/>
                <a:gd name="T2" fmla="*/ 0 w 20"/>
                <a:gd name="T3" fmla="*/ 2147483647 h 18"/>
                <a:gd name="T4" fmla="*/ 2147483647 w 20"/>
                <a:gd name="T5" fmla="*/ 2147483647 h 18"/>
                <a:gd name="T6" fmla="*/ 2147483647 w 20"/>
                <a:gd name="T7" fmla="*/ 2147483647 h 18"/>
                <a:gd name="T8" fmla="*/ 2147483647 w 20"/>
                <a:gd name="T9" fmla="*/ 2147483647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471" name="Freeform 378"/>
            <p:cNvSpPr>
              <a:spLocks/>
            </p:cNvSpPr>
            <p:nvPr/>
          </p:nvSpPr>
          <p:spPr bwMode="auto">
            <a:xfrm>
              <a:off x="5249863" y="4479925"/>
              <a:ext cx="3175" cy="9525"/>
            </a:xfrm>
            <a:custGeom>
              <a:avLst/>
              <a:gdLst>
                <a:gd name="T0" fmla="*/ 0 w 7"/>
                <a:gd name="T1" fmla="*/ 2147483647 h 18"/>
                <a:gd name="T2" fmla="*/ 2147483647 w 7"/>
                <a:gd name="T3" fmla="*/ 2147483647 h 18"/>
                <a:gd name="T4" fmla="*/ 0 w 7"/>
                <a:gd name="T5" fmla="*/ 2147483647 h 18"/>
                <a:gd name="T6" fmla="*/ 0 w 7"/>
                <a:gd name="T7" fmla="*/ 0 h 18"/>
                <a:gd name="T8" fmla="*/ 2147483647 w 7"/>
                <a:gd name="T9" fmla="*/ 0 h 18"/>
                <a:gd name="T10" fmla="*/ 0 w 7"/>
                <a:gd name="T11" fmla="*/ 2147483647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7472" name="Freeform 379"/>
            <p:cNvSpPr>
              <a:spLocks/>
            </p:cNvSpPr>
            <p:nvPr/>
          </p:nvSpPr>
          <p:spPr bwMode="auto">
            <a:xfrm>
              <a:off x="5322888" y="4425950"/>
              <a:ext cx="7937" cy="9525"/>
            </a:xfrm>
            <a:custGeom>
              <a:avLst/>
              <a:gdLst>
                <a:gd name="T0" fmla="*/ 2147483647 w 13"/>
                <a:gd name="T1" fmla="*/ 0 h 18"/>
                <a:gd name="T2" fmla="*/ 2147483647 w 13"/>
                <a:gd name="T3" fmla="*/ 2147483647 h 18"/>
                <a:gd name="T4" fmla="*/ 2147483647 w 13"/>
                <a:gd name="T5" fmla="*/ 2147483647 h 18"/>
                <a:gd name="T6" fmla="*/ 2147483647 w 13"/>
                <a:gd name="T7" fmla="*/ 2147483647 h 18"/>
                <a:gd name="T8" fmla="*/ 2147483647 w 13"/>
                <a:gd name="T9" fmla="*/ 2147483647 h 18"/>
                <a:gd name="T10" fmla="*/ 2147483647 w 13"/>
                <a:gd name="T11" fmla="*/ 2147483647 h 18"/>
                <a:gd name="T12" fmla="*/ 0 w 13"/>
                <a:gd name="T13" fmla="*/ 2147483647 h 18"/>
                <a:gd name="T14" fmla="*/ 2147483647 w 13"/>
                <a:gd name="T15" fmla="*/ 2147483647 h 18"/>
                <a:gd name="T16" fmla="*/ 2147483647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47473" name="Freeform 380"/>
            <p:cNvSpPr>
              <a:spLocks/>
            </p:cNvSpPr>
            <p:nvPr>
              <p:custDataLst>
                <p:tags r:id="rId258"/>
              </p:custDataLst>
            </p:nvPr>
          </p:nvSpPr>
          <p:spPr bwMode="auto">
            <a:xfrm>
              <a:off x="4314825" y="4378325"/>
              <a:ext cx="319088"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47474" name="Freeform 381"/>
            <p:cNvSpPr>
              <a:spLocks/>
            </p:cNvSpPr>
            <p:nvPr>
              <p:custDataLst>
                <p:tags r:id="rId259"/>
              </p:custDataLst>
            </p:nvPr>
          </p:nvSpPr>
          <p:spPr bwMode="auto">
            <a:xfrm>
              <a:off x="4325938" y="435133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371" name="Freeform 382"/>
            <p:cNvSpPr>
              <a:spLocks/>
            </p:cNvSpPr>
            <p:nvPr>
              <p:custDataLst>
                <p:tags r:id="rId260"/>
              </p:custDataLst>
            </p:nvPr>
          </p:nvSpPr>
          <p:spPr bwMode="auto">
            <a:xfrm>
              <a:off x="4419600" y="4902200"/>
              <a:ext cx="396875" cy="398463"/>
            </a:xfrm>
            <a:custGeom>
              <a:avLst/>
              <a:gdLst>
                <a:gd name="T0" fmla="*/ 173656766 w 903"/>
                <a:gd name="T1" fmla="*/ 80201835 h 759"/>
                <a:gd name="T2" fmla="*/ 166702883 w 903"/>
                <a:gd name="T3" fmla="*/ 106936130 h 759"/>
                <a:gd name="T4" fmla="*/ 160714597 w 903"/>
                <a:gd name="T5" fmla="*/ 114101639 h 759"/>
                <a:gd name="T6" fmla="*/ 146999775 w 903"/>
                <a:gd name="T7" fmla="*/ 139733467 h 759"/>
                <a:gd name="T8" fmla="*/ 139079855 w 903"/>
                <a:gd name="T9" fmla="*/ 154616244 h 759"/>
                <a:gd name="T10" fmla="*/ 124978706 w 903"/>
                <a:gd name="T11" fmla="*/ 168947787 h 759"/>
                <a:gd name="T12" fmla="*/ 112616248 w 903"/>
                <a:gd name="T13" fmla="*/ 183554947 h 759"/>
                <a:gd name="T14" fmla="*/ 107593999 w 903"/>
                <a:gd name="T15" fmla="*/ 192374681 h 759"/>
                <a:gd name="T16" fmla="*/ 100446733 w 903"/>
                <a:gd name="T17" fmla="*/ 194303998 h 759"/>
                <a:gd name="T18" fmla="*/ 95810811 w 903"/>
                <a:gd name="T19" fmla="*/ 195682082 h 759"/>
                <a:gd name="T20" fmla="*/ 93685794 w 903"/>
                <a:gd name="T21" fmla="*/ 200367566 h 759"/>
                <a:gd name="T22" fmla="*/ 71858108 w 903"/>
                <a:gd name="T23" fmla="*/ 200367566 h 759"/>
                <a:gd name="T24" fmla="*/ 65483496 w 903"/>
                <a:gd name="T25" fmla="*/ 201745124 h 759"/>
                <a:gd name="T26" fmla="*/ 61040518 w 903"/>
                <a:gd name="T27" fmla="*/ 201745124 h 759"/>
                <a:gd name="T28" fmla="*/ 55245615 w 903"/>
                <a:gd name="T29" fmla="*/ 200367566 h 759"/>
                <a:gd name="T30" fmla="*/ 50802637 w 903"/>
                <a:gd name="T31" fmla="*/ 203123208 h 759"/>
                <a:gd name="T32" fmla="*/ 28202298 w 903"/>
                <a:gd name="T33" fmla="*/ 209186775 h 759"/>
                <a:gd name="T34" fmla="*/ 22407395 w 903"/>
                <a:gd name="T35" fmla="*/ 207533075 h 759"/>
                <a:gd name="T36" fmla="*/ 17385147 w 903"/>
                <a:gd name="T37" fmla="*/ 203674441 h 759"/>
                <a:gd name="T38" fmla="*/ 14680859 w 903"/>
                <a:gd name="T39" fmla="*/ 198162632 h 759"/>
                <a:gd name="T40" fmla="*/ 15260129 w 903"/>
                <a:gd name="T41" fmla="*/ 192099065 h 759"/>
                <a:gd name="T42" fmla="*/ 14487476 w 903"/>
                <a:gd name="T43" fmla="*/ 173082038 h 759"/>
                <a:gd name="T44" fmla="*/ 15260129 w 903"/>
                <a:gd name="T45" fmla="*/ 167569704 h 759"/>
                <a:gd name="T46" fmla="*/ 13135112 w 903"/>
                <a:gd name="T47" fmla="*/ 157648027 h 759"/>
                <a:gd name="T48" fmla="*/ 4249595 w 903"/>
                <a:gd name="T49" fmla="*/ 142214017 h 759"/>
                <a:gd name="T50" fmla="*/ 2317961 w 903"/>
                <a:gd name="T51" fmla="*/ 133394283 h 759"/>
                <a:gd name="T52" fmla="*/ 1931634 w 903"/>
                <a:gd name="T53" fmla="*/ 120992056 h 759"/>
                <a:gd name="T54" fmla="*/ 0 w 903"/>
                <a:gd name="T55" fmla="*/ 103904346 h 759"/>
                <a:gd name="T56" fmla="*/ 7533593 w 903"/>
                <a:gd name="T57" fmla="*/ 103904346 h 759"/>
                <a:gd name="T58" fmla="*/ 11010534 w 903"/>
                <a:gd name="T59" fmla="*/ 109141063 h 759"/>
                <a:gd name="T60" fmla="*/ 18157800 w 903"/>
                <a:gd name="T61" fmla="*/ 112999697 h 759"/>
                <a:gd name="T62" fmla="*/ 26077281 w 903"/>
                <a:gd name="T63" fmla="*/ 113275314 h 759"/>
                <a:gd name="T64" fmla="*/ 30906586 w 903"/>
                <a:gd name="T65" fmla="*/ 110243530 h 759"/>
                <a:gd name="T66" fmla="*/ 35156181 w 903"/>
                <a:gd name="T67" fmla="*/ 102526262 h 759"/>
                <a:gd name="T68" fmla="*/ 38053852 w 903"/>
                <a:gd name="T69" fmla="*/ 63114124 h 759"/>
                <a:gd name="T70" fmla="*/ 39405776 w 903"/>
                <a:gd name="T71" fmla="*/ 50711898 h 759"/>
                <a:gd name="T72" fmla="*/ 40565196 w 903"/>
                <a:gd name="T73" fmla="*/ 46302031 h 759"/>
                <a:gd name="T74" fmla="*/ 46166715 w 903"/>
                <a:gd name="T75" fmla="*/ 49058198 h 759"/>
                <a:gd name="T76" fmla="*/ 47325696 w 903"/>
                <a:gd name="T77" fmla="*/ 65594675 h 759"/>
                <a:gd name="T78" fmla="*/ 47712022 w 903"/>
                <a:gd name="T79" fmla="*/ 75516876 h 759"/>
                <a:gd name="T80" fmla="*/ 49450713 w 903"/>
                <a:gd name="T81" fmla="*/ 79099368 h 759"/>
                <a:gd name="T82" fmla="*/ 55438998 w 903"/>
                <a:gd name="T83" fmla="*/ 81304301 h 759"/>
                <a:gd name="T84" fmla="*/ 60267864 w 903"/>
                <a:gd name="T85" fmla="*/ 80753068 h 759"/>
                <a:gd name="T86" fmla="*/ 64324516 w 903"/>
                <a:gd name="T87" fmla="*/ 74965642 h 759"/>
                <a:gd name="T88" fmla="*/ 67608513 w 903"/>
                <a:gd name="T89" fmla="*/ 64492208 h 759"/>
                <a:gd name="T90" fmla="*/ 71085455 w 903"/>
                <a:gd name="T91" fmla="*/ 55397382 h 759"/>
                <a:gd name="T92" fmla="*/ 74755340 w 903"/>
                <a:gd name="T93" fmla="*/ 52641215 h 759"/>
                <a:gd name="T94" fmla="*/ 79970972 w 903"/>
                <a:gd name="T95" fmla="*/ 53192448 h 759"/>
                <a:gd name="T96" fmla="*/ 87118238 w 903"/>
                <a:gd name="T97" fmla="*/ 57326699 h 759"/>
                <a:gd name="T98" fmla="*/ 92333430 w 903"/>
                <a:gd name="T99" fmla="*/ 59531632 h 759"/>
                <a:gd name="T100" fmla="*/ 98901426 w 903"/>
                <a:gd name="T101" fmla="*/ 58704782 h 759"/>
                <a:gd name="T102" fmla="*/ 102571311 w 903"/>
                <a:gd name="T103" fmla="*/ 55121765 h 759"/>
                <a:gd name="T104" fmla="*/ 108945923 w 903"/>
                <a:gd name="T105" fmla="*/ 35002271 h 759"/>
                <a:gd name="T106" fmla="*/ 119763074 w 903"/>
                <a:gd name="T107" fmla="*/ 22048811 h 759"/>
                <a:gd name="T108" fmla="*/ 141397816 w 903"/>
                <a:gd name="T109" fmla="*/ 3031784 h 759"/>
                <a:gd name="T110" fmla="*/ 155692348 w 903"/>
                <a:gd name="T111" fmla="*/ 826850 h 759"/>
                <a:gd name="T112" fmla="*/ 160328270 w 903"/>
                <a:gd name="T113" fmla="*/ 1653700 h 759"/>
                <a:gd name="T114" fmla="*/ 164964192 w 903"/>
                <a:gd name="T115" fmla="*/ 9646060 h 759"/>
                <a:gd name="T116" fmla="*/ 168634517 w 903"/>
                <a:gd name="T117" fmla="*/ 19568261 h 759"/>
                <a:gd name="T118" fmla="*/ 170566151 w 903"/>
                <a:gd name="T119" fmla="*/ 29489937 h 759"/>
                <a:gd name="T120" fmla="*/ 167668480 w 903"/>
                <a:gd name="T121" fmla="*/ 57051082 h 759"/>
                <a:gd name="T122" fmla="*/ 160328270 w 903"/>
                <a:gd name="T123" fmla="*/ 56224232 h 759"/>
                <a:gd name="T124" fmla="*/ 159555617 w 903"/>
                <a:gd name="T125" fmla="*/ 7744619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lumMod val="60000"/>
                <a:lumOff val="40000"/>
              </a:schemeClr>
            </a:solidFill>
            <a:ln w="9525" cap="flat" cmpd="sng">
              <a:solidFill>
                <a:srgbClr val="FFFFFF"/>
              </a:solidFill>
              <a:prstDash val="solid"/>
              <a:round/>
              <a:headEnd type="none" w="med" len="med"/>
              <a:tailEnd type="none" w="med" len="med"/>
            </a:ln>
            <a:effectLst/>
          </p:spPr>
          <p:txBody>
            <a:bodyPr/>
            <a:lstStyle/>
            <a:p>
              <a:pPr>
                <a:defRPr/>
              </a:pPr>
              <a:endParaRPr lang="en-GB" dirty="0">
                <a:solidFill>
                  <a:srgbClr val="00B0F0"/>
                </a:solidFill>
                <a:latin typeface="Arial" charset="0"/>
                <a:cs typeface="Arial" charset="0"/>
              </a:endParaRPr>
            </a:p>
          </p:txBody>
        </p:sp>
        <p:sp>
          <p:nvSpPr>
            <p:cNvPr id="372" name="Freeform 383"/>
            <p:cNvSpPr>
              <a:spLocks/>
            </p:cNvSpPr>
            <p:nvPr>
              <p:custDataLst>
                <p:tags r:id="rId261"/>
              </p:custDataLst>
            </p:nvPr>
          </p:nvSpPr>
          <p:spPr bwMode="auto">
            <a:xfrm>
              <a:off x="4575175" y="3462338"/>
              <a:ext cx="411163" cy="611187"/>
            </a:xfrm>
            <a:custGeom>
              <a:avLst/>
              <a:gdLst>
                <a:gd name="T0" fmla="*/ 141060831 w 943"/>
                <a:gd name="T1" fmla="*/ 1359528 h 1172"/>
                <a:gd name="T2" fmla="*/ 145433188 w 943"/>
                <a:gd name="T3" fmla="*/ 6254769 h 1172"/>
                <a:gd name="T4" fmla="*/ 152657518 w 943"/>
                <a:gd name="T5" fmla="*/ 8158734 h 1172"/>
                <a:gd name="T6" fmla="*/ 154748645 w 943"/>
                <a:gd name="T7" fmla="*/ 14957418 h 1172"/>
                <a:gd name="T8" fmla="*/ 158740797 w 943"/>
                <a:gd name="T9" fmla="*/ 29643139 h 1172"/>
                <a:gd name="T10" fmla="*/ 159121002 w 943"/>
                <a:gd name="T11" fmla="*/ 50855326 h 1172"/>
                <a:gd name="T12" fmla="*/ 162923488 w 943"/>
                <a:gd name="T13" fmla="*/ 66084442 h 1172"/>
                <a:gd name="T14" fmla="*/ 175280584 w 943"/>
                <a:gd name="T15" fmla="*/ 79410635 h 1172"/>
                <a:gd name="T16" fmla="*/ 167105742 w 943"/>
                <a:gd name="T17" fmla="*/ 98174941 h 1172"/>
                <a:gd name="T18" fmla="*/ 161782873 w 943"/>
                <a:gd name="T19" fmla="*/ 111501134 h 1172"/>
                <a:gd name="T20" fmla="*/ 153798133 w 943"/>
                <a:gd name="T21" fmla="*/ 172690335 h 1172"/>
                <a:gd name="T22" fmla="*/ 146383700 w 943"/>
                <a:gd name="T23" fmla="*/ 184112563 h 1172"/>
                <a:gd name="T24" fmla="*/ 145052983 w 943"/>
                <a:gd name="T25" fmla="*/ 196078184 h 1172"/>
                <a:gd name="T26" fmla="*/ 141631139 w 943"/>
                <a:gd name="T27" fmla="*/ 199885594 h 1172"/>
                <a:gd name="T28" fmla="*/ 137448884 w 943"/>
                <a:gd name="T29" fmla="*/ 217018674 h 1172"/>
                <a:gd name="T30" fmla="*/ 131555271 w 943"/>
                <a:gd name="T31" fmla="*/ 238503080 h 1172"/>
                <a:gd name="T32" fmla="*/ 125852197 w 943"/>
                <a:gd name="T33" fmla="*/ 245573983 h 1172"/>
                <a:gd name="T34" fmla="*/ 126232402 w 943"/>
                <a:gd name="T35" fmla="*/ 254004414 h 1172"/>
                <a:gd name="T36" fmla="*/ 130414657 w 943"/>
                <a:gd name="T37" fmla="*/ 255363942 h 1172"/>
                <a:gd name="T38" fmla="*/ 134787449 w 943"/>
                <a:gd name="T39" fmla="*/ 258355738 h 1172"/>
                <a:gd name="T40" fmla="*/ 141060831 w 943"/>
                <a:gd name="T41" fmla="*/ 264066591 h 1172"/>
                <a:gd name="T42" fmla="*/ 143722266 w 943"/>
                <a:gd name="T43" fmla="*/ 273857072 h 1172"/>
                <a:gd name="T44" fmla="*/ 147334649 w 943"/>
                <a:gd name="T45" fmla="*/ 283647553 h 1172"/>
                <a:gd name="T46" fmla="*/ 152657518 w 943"/>
                <a:gd name="T47" fmla="*/ 286367131 h 1172"/>
                <a:gd name="T48" fmla="*/ 153798133 w 943"/>
                <a:gd name="T49" fmla="*/ 297517140 h 1172"/>
                <a:gd name="T50" fmla="*/ 136498372 w 943"/>
                <a:gd name="T51" fmla="*/ 303227993 h 1172"/>
                <a:gd name="T52" fmla="*/ 130604759 w 943"/>
                <a:gd name="T53" fmla="*/ 314650221 h 1172"/>
                <a:gd name="T54" fmla="*/ 113685203 w 943"/>
                <a:gd name="T55" fmla="*/ 318185411 h 1172"/>
                <a:gd name="T56" fmla="*/ 97906262 w 943"/>
                <a:gd name="T57" fmla="*/ 314921918 h 1172"/>
                <a:gd name="T58" fmla="*/ 88210600 w 943"/>
                <a:gd name="T59" fmla="*/ 305403656 h 1172"/>
                <a:gd name="T60" fmla="*/ 74142581 w 943"/>
                <a:gd name="T61" fmla="*/ 305947571 h 1172"/>
                <a:gd name="T62" fmla="*/ 60644869 w 943"/>
                <a:gd name="T63" fmla="*/ 304587521 h 1172"/>
                <a:gd name="T64" fmla="*/ 56462179 w 943"/>
                <a:gd name="T65" fmla="*/ 300236718 h 1172"/>
                <a:gd name="T66" fmla="*/ 55891871 w 943"/>
                <a:gd name="T67" fmla="*/ 292349681 h 1172"/>
                <a:gd name="T68" fmla="*/ 52089822 w 943"/>
                <a:gd name="T69" fmla="*/ 279840144 h 1172"/>
                <a:gd name="T70" fmla="*/ 41063442 w 943"/>
                <a:gd name="T71" fmla="*/ 264882726 h 1172"/>
                <a:gd name="T72" fmla="*/ 36691085 w 943"/>
                <a:gd name="T73" fmla="*/ 251557054 h 1172"/>
                <a:gd name="T74" fmla="*/ 28896448 w 943"/>
                <a:gd name="T75" fmla="*/ 245573983 h 1172"/>
                <a:gd name="T76" fmla="*/ 22813169 w 943"/>
                <a:gd name="T77" fmla="*/ 230072649 h 1172"/>
                <a:gd name="T78" fmla="*/ 18440376 w 943"/>
                <a:gd name="T79" fmla="*/ 214299096 h 1172"/>
                <a:gd name="T80" fmla="*/ 12357097 w 943"/>
                <a:gd name="T81" fmla="*/ 206140884 h 1172"/>
                <a:gd name="T82" fmla="*/ 6273382 w 943"/>
                <a:gd name="T83" fmla="*/ 183840344 h 1172"/>
                <a:gd name="T84" fmla="*/ 760410 w 943"/>
                <a:gd name="T85" fmla="*/ 166163348 h 1172"/>
                <a:gd name="T86" fmla="*/ 3421845 w 943"/>
                <a:gd name="T87" fmla="*/ 156917304 h 1172"/>
                <a:gd name="T88" fmla="*/ 5512972 w 943"/>
                <a:gd name="T89" fmla="*/ 141687667 h 1172"/>
                <a:gd name="T90" fmla="*/ 12166994 w 943"/>
                <a:gd name="T91" fmla="*/ 128905911 h 1172"/>
                <a:gd name="T92" fmla="*/ 21482451 w 943"/>
                <a:gd name="T93" fmla="*/ 60373589 h 1172"/>
                <a:gd name="T94" fmla="*/ 23383476 w 943"/>
                <a:gd name="T95" fmla="*/ 48679664 h 1172"/>
                <a:gd name="T96" fmla="*/ 29086550 w 943"/>
                <a:gd name="T97" fmla="*/ 46504002 h 1172"/>
                <a:gd name="T98" fmla="*/ 30417268 w 943"/>
                <a:gd name="T99" fmla="*/ 33178330 h 1172"/>
                <a:gd name="T100" fmla="*/ 30227165 w 943"/>
                <a:gd name="T101" fmla="*/ 18220912 h 1172"/>
                <a:gd name="T102" fmla="*/ 129083939 w 943"/>
                <a:gd name="T103" fmla="*/ 1876482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477" name="Freeform 385"/>
            <p:cNvSpPr>
              <a:spLocks/>
            </p:cNvSpPr>
            <p:nvPr/>
          </p:nvSpPr>
          <p:spPr bwMode="auto">
            <a:xfrm>
              <a:off x="3359150" y="3663950"/>
              <a:ext cx="20638" cy="17463"/>
            </a:xfrm>
            <a:custGeom>
              <a:avLst/>
              <a:gdLst>
                <a:gd name="T0" fmla="*/ 2147483647 w 51"/>
                <a:gd name="T1" fmla="*/ 0 h 33"/>
                <a:gd name="T2" fmla="*/ 0 w 51"/>
                <a:gd name="T3" fmla="*/ 2147483647 h 33"/>
                <a:gd name="T4" fmla="*/ 2147483647 w 51"/>
                <a:gd name="T5" fmla="*/ 2147483647 h 33"/>
                <a:gd name="T6" fmla="*/ 2147483647 w 51"/>
                <a:gd name="T7" fmla="*/ 2147483647 h 33"/>
                <a:gd name="T8" fmla="*/ 2147483647 w 51"/>
                <a:gd name="T9" fmla="*/ 2147483647 h 33"/>
                <a:gd name="T10" fmla="*/ 2147483647 w 51"/>
                <a:gd name="T11" fmla="*/ 2147483647 h 33"/>
                <a:gd name="T12" fmla="*/ 2147483647 w 51"/>
                <a:gd name="T13" fmla="*/ 2147483647 h 33"/>
                <a:gd name="T14" fmla="*/ 2147483647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47478" name="Freeform 386"/>
            <p:cNvSpPr>
              <a:spLocks/>
            </p:cNvSpPr>
            <p:nvPr/>
          </p:nvSpPr>
          <p:spPr bwMode="auto">
            <a:xfrm>
              <a:off x="3384550" y="3681413"/>
              <a:ext cx="23813" cy="11112"/>
            </a:xfrm>
            <a:custGeom>
              <a:avLst/>
              <a:gdLst>
                <a:gd name="T0" fmla="*/ 2147483647 w 61"/>
                <a:gd name="T1" fmla="*/ 2147483647 h 20"/>
                <a:gd name="T2" fmla="*/ 2147483647 w 61"/>
                <a:gd name="T3" fmla="*/ 2147483647 h 20"/>
                <a:gd name="T4" fmla="*/ 0 w 61"/>
                <a:gd name="T5" fmla="*/ 0 h 20"/>
                <a:gd name="T6" fmla="*/ 2147483647 w 61"/>
                <a:gd name="T7" fmla="*/ 2147483647 h 20"/>
                <a:gd name="T8" fmla="*/ 2147483647 w 61"/>
                <a:gd name="T9" fmla="*/ 2147483647 h 20"/>
                <a:gd name="T10" fmla="*/ 2147483647 w 61"/>
                <a:gd name="T11" fmla="*/ 2147483647 h 20"/>
                <a:gd name="T12" fmla="*/ 2147483647 w 61"/>
                <a:gd name="T13" fmla="*/ 2147483647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47479" name="Freeform 387"/>
            <p:cNvSpPr>
              <a:spLocks/>
            </p:cNvSpPr>
            <p:nvPr/>
          </p:nvSpPr>
          <p:spPr bwMode="auto">
            <a:xfrm>
              <a:off x="3427413" y="3668713"/>
              <a:ext cx="6350" cy="19050"/>
            </a:xfrm>
            <a:custGeom>
              <a:avLst/>
              <a:gdLst>
                <a:gd name="T0" fmla="*/ 2147483647 w 15"/>
                <a:gd name="T1" fmla="*/ 0 h 36"/>
                <a:gd name="T2" fmla="*/ 0 w 15"/>
                <a:gd name="T3" fmla="*/ 2147483647 h 36"/>
                <a:gd name="T4" fmla="*/ 0 w 15"/>
                <a:gd name="T5" fmla="*/ 2147483647 h 36"/>
                <a:gd name="T6" fmla="*/ 2147483647 w 15"/>
                <a:gd name="T7" fmla="*/ 2147483647 h 36"/>
                <a:gd name="T8" fmla="*/ 2147483647 w 15"/>
                <a:gd name="T9" fmla="*/ 2147483647 h 36"/>
                <a:gd name="T10" fmla="*/ 2147483647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47480" name="Freeform 388"/>
            <p:cNvSpPr>
              <a:spLocks/>
            </p:cNvSpPr>
            <p:nvPr/>
          </p:nvSpPr>
          <p:spPr bwMode="auto">
            <a:xfrm>
              <a:off x="3425825" y="3692525"/>
              <a:ext cx="14288" cy="15875"/>
            </a:xfrm>
            <a:custGeom>
              <a:avLst/>
              <a:gdLst>
                <a:gd name="T0" fmla="*/ 2147483647 w 37"/>
                <a:gd name="T1" fmla="*/ 2147483647 h 33"/>
                <a:gd name="T2" fmla="*/ 2147483647 w 37"/>
                <a:gd name="T3" fmla="*/ 0 h 33"/>
                <a:gd name="T4" fmla="*/ 2147483647 w 37"/>
                <a:gd name="T5" fmla="*/ 2147483647 h 33"/>
                <a:gd name="T6" fmla="*/ 2147483647 w 37"/>
                <a:gd name="T7" fmla="*/ 2147483647 h 33"/>
                <a:gd name="T8" fmla="*/ 2147483647 w 37"/>
                <a:gd name="T9" fmla="*/ 2147483647 h 33"/>
                <a:gd name="T10" fmla="*/ 2147483647 w 37"/>
                <a:gd name="T11" fmla="*/ 2147483647 h 33"/>
                <a:gd name="T12" fmla="*/ 2147483647 w 37"/>
                <a:gd name="T13" fmla="*/ 2147483647 h 33"/>
                <a:gd name="T14" fmla="*/ 0 w 37"/>
                <a:gd name="T15" fmla="*/ 2147483647 h 33"/>
                <a:gd name="T16" fmla="*/ 2147483647 w 37"/>
                <a:gd name="T17" fmla="*/ 214748364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47481" name="Freeform 389"/>
            <p:cNvSpPr>
              <a:spLocks/>
            </p:cNvSpPr>
            <p:nvPr/>
          </p:nvSpPr>
          <p:spPr bwMode="auto">
            <a:xfrm>
              <a:off x="3403600" y="3717925"/>
              <a:ext cx="20638" cy="28575"/>
            </a:xfrm>
            <a:custGeom>
              <a:avLst/>
              <a:gdLst>
                <a:gd name="T0" fmla="*/ 2147483647 w 49"/>
                <a:gd name="T1" fmla="*/ 0 h 54"/>
                <a:gd name="T2" fmla="*/ 0 w 49"/>
                <a:gd name="T3" fmla="*/ 0 h 54"/>
                <a:gd name="T4" fmla="*/ 2147483647 w 49"/>
                <a:gd name="T5" fmla="*/ 2147483647 h 54"/>
                <a:gd name="T6" fmla="*/ 2147483647 w 49"/>
                <a:gd name="T7" fmla="*/ 2147483647 h 54"/>
                <a:gd name="T8" fmla="*/ 2147483647 w 49"/>
                <a:gd name="T9" fmla="*/ 2147483647 h 54"/>
                <a:gd name="T10" fmla="*/ 2147483647 w 49"/>
                <a:gd name="T11" fmla="*/ 2147483647 h 54"/>
                <a:gd name="T12" fmla="*/ 2147483647 w 49"/>
                <a:gd name="T13" fmla="*/ 2147483647 h 54"/>
                <a:gd name="T14" fmla="*/ 2147483647 w 49"/>
                <a:gd name="T15" fmla="*/ 2147483647 h 54"/>
                <a:gd name="T16" fmla="*/ 2147483647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47482" name="Freeform 390"/>
            <p:cNvSpPr>
              <a:spLocks/>
            </p:cNvSpPr>
            <p:nvPr/>
          </p:nvSpPr>
          <p:spPr bwMode="auto">
            <a:xfrm>
              <a:off x="3386138" y="3733800"/>
              <a:ext cx="11112" cy="11113"/>
            </a:xfrm>
            <a:custGeom>
              <a:avLst/>
              <a:gdLst>
                <a:gd name="T0" fmla="*/ 2147483647 w 26"/>
                <a:gd name="T1" fmla="*/ 0 h 22"/>
                <a:gd name="T2" fmla="*/ 2147483647 w 26"/>
                <a:gd name="T3" fmla="*/ 2147483647 h 22"/>
                <a:gd name="T4" fmla="*/ 0 w 26"/>
                <a:gd name="T5" fmla="*/ 2147483647 h 22"/>
                <a:gd name="T6" fmla="*/ 2147483647 w 26"/>
                <a:gd name="T7" fmla="*/ 2147483647 h 22"/>
                <a:gd name="T8" fmla="*/ 2147483647 w 26"/>
                <a:gd name="T9" fmla="*/ 2147483647 h 22"/>
                <a:gd name="T10" fmla="*/ 2147483647 w 26"/>
                <a:gd name="T11" fmla="*/ 2147483647 h 22"/>
                <a:gd name="T12" fmla="*/ 2147483647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sp>
          <p:nvSpPr>
            <p:cNvPr id="47483" name="Freeform 392"/>
            <p:cNvSpPr>
              <a:spLocks/>
            </p:cNvSpPr>
            <p:nvPr/>
          </p:nvSpPr>
          <p:spPr bwMode="auto">
            <a:xfrm>
              <a:off x="2381250" y="2230438"/>
              <a:ext cx="41275" cy="26987"/>
            </a:xfrm>
            <a:custGeom>
              <a:avLst/>
              <a:gdLst>
                <a:gd name="T0" fmla="*/ 0 w 98"/>
                <a:gd name="T1" fmla="*/ 2147483647 h 54"/>
                <a:gd name="T2" fmla="*/ 2147483647 w 98"/>
                <a:gd name="T3" fmla="*/ 2147483647 h 54"/>
                <a:gd name="T4" fmla="*/ 2147483647 w 98"/>
                <a:gd name="T5" fmla="*/ 2147483647 h 54"/>
                <a:gd name="T6" fmla="*/ 2147483647 w 98"/>
                <a:gd name="T7" fmla="*/ 2147483647 h 54"/>
                <a:gd name="T8" fmla="*/ 2147483647 w 98"/>
                <a:gd name="T9" fmla="*/ 2147483647 h 54"/>
                <a:gd name="T10" fmla="*/ 2147483647 w 98"/>
                <a:gd name="T11" fmla="*/ 2147483647 h 54"/>
                <a:gd name="T12" fmla="*/ 2147483647 w 98"/>
                <a:gd name="T13" fmla="*/ 2147483647 h 54"/>
                <a:gd name="T14" fmla="*/ 2147483647 w 98"/>
                <a:gd name="T15" fmla="*/ 2147483647 h 54"/>
                <a:gd name="T16" fmla="*/ 2147483647 w 98"/>
                <a:gd name="T17" fmla="*/ 2147483647 h 54"/>
                <a:gd name="T18" fmla="*/ 2147483647 w 98"/>
                <a:gd name="T19" fmla="*/ 2147483647 h 54"/>
                <a:gd name="T20" fmla="*/ 2147483647 w 98"/>
                <a:gd name="T21" fmla="*/ 2147483647 h 54"/>
                <a:gd name="T22" fmla="*/ 2147483647 w 98"/>
                <a:gd name="T23" fmla="*/ 2147483647 h 54"/>
                <a:gd name="T24" fmla="*/ 2147483647 w 98"/>
                <a:gd name="T25" fmla="*/ 2147483647 h 54"/>
                <a:gd name="T26" fmla="*/ 2147483647 w 98"/>
                <a:gd name="T27" fmla="*/ 2147483647 h 54"/>
                <a:gd name="T28" fmla="*/ 2147483647 w 98"/>
                <a:gd name="T29" fmla="*/ 2147483647 h 54"/>
                <a:gd name="T30" fmla="*/ 2147483647 w 98"/>
                <a:gd name="T31" fmla="*/ 2147483647 h 54"/>
                <a:gd name="T32" fmla="*/ 2147483647 w 98"/>
                <a:gd name="T33" fmla="*/ 0 h 54"/>
                <a:gd name="T34" fmla="*/ 2147483647 w 98"/>
                <a:gd name="T35" fmla="*/ 0 h 54"/>
                <a:gd name="T36" fmla="*/ 2147483647 w 98"/>
                <a:gd name="T37" fmla="*/ 0 h 54"/>
                <a:gd name="T38" fmla="*/ 2147483647 w 98"/>
                <a:gd name="T39" fmla="*/ 2147483647 h 54"/>
                <a:gd name="T40" fmla="*/ 2147483647 w 98"/>
                <a:gd name="T41" fmla="*/ 2147483647 h 54"/>
                <a:gd name="T42" fmla="*/ 2147483647 w 98"/>
                <a:gd name="T43" fmla="*/ 2147483647 h 54"/>
                <a:gd name="T44" fmla="*/ 2147483647 w 98"/>
                <a:gd name="T45" fmla="*/ 2147483647 h 54"/>
                <a:gd name="T46" fmla="*/ 2147483647 w 98"/>
                <a:gd name="T47" fmla="*/ 2147483647 h 54"/>
                <a:gd name="T48" fmla="*/ 2147483647 w 98"/>
                <a:gd name="T49" fmla="*/ 2147483647 h 54"/>
                <a:gd name="T50" fmla="*/ 2147483647 w 98"/>
                <a:gd name="T51" fmla="*/ 2147483647 h 54"/>
                <a:gd name="T52" fmla="*/ 2147483647 w 98"/>
                <a:gd name="T53" fmla="*/ 2147483647 h 54"/>
                <a:gd name="T54" fmla="*/ 2147483647 w 98"/>
                <a:gd name="T55" fmla="*/ 2147483647 h 54"/>
                <a:gd name="T56" fmla="*/ 0 w 98"/>
                <a:gd name="T57" fmla="*/ 2147483647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4" name="Freeform 393"/>
            <p:cNvSpPr>
              <a:spLocks/>
            </p:cNvSpPr>
            <p:nvPr/>
          </p:nvSpPr>
          <p:spPr bwMode="auto">
            <a:xfrm>
              <a:off x="2362200" y="2428875"/>
              <a:ext cx="28575" cy="12700"/>
            </a:xfrm>
            <a:custGeom>
              <a:avLst/>
              <a:gdLst>
                <a:gd name="T0" fmla="*/ 0 w 67"/>
                <a:gd name="T1" fmla="*/ 2147483647 h 28"/>
                <a:gd name="T2" fmla="*/ 2147483647 w 67"/>
                <a:gd name="T3" fmla="*/ 2147483647 h 28"/>
                <a:gd name="T4" fmla="*/ 2147483647 w 67"/>
                <a:gd name="T5" fmla="*/ 2147483647 h 28"/>
                <a:gd name="T6" fmla="*/ 2147483647 w 67"/>
                <a:gd name="T7" fmla="*/ 2147483647 h 28"/>
                <a:gd name="T8" fmla="*/ 2147483647 w 67"/>
                <a:gd name="T9" fmla="*/ 2147483647 h 28"/>
                <a:gd name="T10" fmla="*/ 2147483647 w 67"/>
                <a:gd name="T11" fmla="*/ 2147483647 h 28"/>
                <a:gd name="T12" fmla="*/ 2147483647 w 67"/>
                <a:gd name="T13" fmla="*/ 2147483647 h 28"/>
                <a:gd name="T14" fmla="*/ 2147483647 w 67"/>
                <a:gd name="T15" fmla="*/ 2147483647 h 28"/>
                <a:gd name="T16" fmla="*/ 2147483647 w 67"/>
                <a:gd name="T17" fmla="*/ 2147483647 h 28"/>
                <a:gd name="T18" fmla="*/ 2147483647 w 67"/>
                <a:gd name="T19" fmla="*/ 2147483647 h 28"/>
                <a:gd name="T20" fmla="*/ 2147483647 w 67"/>
                <a:gd name="T21" fmla="*/ 0 h 28"/>
                <a:gd name="T22" fmla="*/ 2147483647 w 67"/>
                <a:gd name="T23" fmla="*/ 2147483647 h 28"/>
                <a:gd name="T24" fmla="*/ 2147483647 w 67"/>
                <a:gd name="T25" fmla="*/ 2147483647 h 28"/>
                <a:gd name="T26" fmla="*/ 2147483647 w 67"/>
                <a:gd name="T27" fmla="*/ 2147483647 h 28"/>
                <a:gd name="T28" fmla="*/ 2147483647 w 67"/>
                <a:gd name="T29" fmla="*/ 2147483647 h 28"/>
                <a:gd name="T30" fmla="*/ 2147483647 w 67"/>
                <a:gd name="T31" fmla="*/ 2147483647 h 28"/>
                <a:gd name="T32" fmla="*/ 2147483647 w 67"/>
                <a:gd name="T33" fmla="*/ 2147483647 h 28"/>
                <a:gd name="T34" fmla="*/ 2147483647 w 67"/>
                <a:gd name="T35" fmla="*/ 2147483647 h 28"/>
                <a:gd name="T36" fmla="*/ 0 w 67"/>
                <a:gd name="T37" fmla="*/ 214748364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5" name="Freeform 394"/>
            <p:cNvSpPr>
              <a:spLocks/>
            </p:cNvSpPr>
            <p:nvPr/>
          </p:nvSpPr>
          <p:spPr bwMode="auto">
            <a:xfrm>
              <a:off x="2287588" y="2520950"/>
              <a:ext cx="15875" cy="17463"/>
            </a:xfrm>
            <a:custGeom>
              <a:avLst/>
              <a:gdLst>
                <a:gd name="T0" fmla="*/ 0 w 32"/>
                <a:gd name="T1" fmla="*/ 2147483647 h 36"/>
                <a:gd name="T2" fmla="*/ 2147483647 w 32"/>
                <a:gd name="T3" fmla="*/ 2147483647 h 36"/>
                <a:gd name="T4" fmla="*/ 2147483647 w 32"/>
                <a:gd name="T5" fmla="*/ 2147483647 h 36"/>
                <a:gd name="T6" fmla="*/ 2147483647 w 32"/>
                <a:gd name="T7" fmla="*/ 2147483647 h 36"/>
                <a:gd name="T8" fmla="*/ 2147483647 w 32"/>
                <a:gd name="T9" fmla="*/ 2147483647 h 36"/>
                <a:gd name="T10" fmla="*/ 2147483647 w 32"/>
                <a:gd name="T11" fmla="*/ 2147483647 h 36"/>
                <a:gd name="T12" fmla="*/ 2147483647 w 32"/>
                <a:gd name="T13" fmla="*/ 2147483647 h 36"/>
                <a:gd name="T14" fmla="*/ 2147483647 w 32"/>
                <a:gd name="T15" fmla="*/ 2147483647 h 36"/>
                <a:gd name="T16" fmla="*/ 2147483647 w 32"/>
                <a:gd name="T17" fmla="*/ 2147483647 h 36"/>
                <a:gd name="T18" fmla="*/ 2147483647 w 32"/>
                <a:gd name="T19" fmla="*/ 2147483647 h 36"/>
                <a:gd name="T20" fmla="*/ 2147483647 w 32"/>
                <a:gd name="T21" fmla="*/ 2147483647 h 36"/>
                <a:gd name="T22" fmla="*/ 2147483647 w 32"/>
                <a:gd name="T23" fmla="*/ 0 h 36"/>
                <a:gd name="T24" fmla="*/ 2147483647 w 32"/>
                <a:gd name="T25" fmla="*/ 2147483647 h 36"/>
                <a:gd name="T26" fmla="*/ 2147483647 w 32"/>
                <a:gd name="T27" fmla="*/ 2147483647 h 36"/>
                <a:gd name="T28" fmla="*/ 2147483647 w 32"/>
                <a:gd name="T29" fmla="*/ 2147483647 h 36"/>
                <a:gd name="T30" fmla="*/ 2147483647 w 32"/>
                <a:gd name="T31" fmla="*/ 2147483647 h 36"/>
                <a:gd name="T32" fmla="*/ 2147483647 w 32"/>
                <a:gd name="T33" fmla="*/ 2147483647 h 36"/>
                <a:gd name="T34" fmla="*/ 0 w 32"/>
                <a:gd name="T35" fmla="*/ 2147483647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6" name="Freeform 395"/>
            <p:cNvSpPr>
              <a:spLocks/>
            </p:cNvSpPr>
            <p:nvPr/>
          </p:nvSpPr>
          <p:spPr bwMode="auto">
            <a:xfrm>
              <a:off x="2216150" y="2049463"/>
              <a:ext cx="61913" cy="28575"/>
            </a:xfrm>
            <a:custGeom>
              <a:avLst/>
              <a:gdLst>
                <a:gd name="T0" fmla="*/ 0 w 146"/>
                <a:gd name="T1" fmla="*/ 2147483647 h 52"/>
                <a:gd name="T2" fmla="*/ 2147483647 w 146"/>
                <a:gd name="T3" fmla="*/ 2147483647 h 52"/>
                <a:gd name="T4" fmla="*/ 2147483647 w 146"/>
                <a:gd name="T5" fmla="*/ 2147483647 h 52"/>
                <a:gd name="T6" fmla="*/ 2147483647 w 146"/>
                <a:gd name="T7" fmla="*/ 2147483647 h 52"/>
                <a:gd name="T8" fmla="*/ 2147483647 w 146"/>
                <a:gd name="T9" fmla="*/ 2147483647 h 52"/>
                <a:gd name="T10" fmla="*/ 2147483647 w 146"/>
                <a:gd name="T11" fmla="*/ 2147483647 h 52"/>
                <a:gd name="T12" fmla="*/ 2147483647 w 146"/>
                <a:gd name="T13" fmla="*/ 2147483647 h 52"/>
                <a:gd name="T14" fmla="*/ 2147483647 w 146"/>
                <a:gd name="T15" fmla="*/ 2147483647 h 52"/>
                <a:gd name="T16" fmla="*/ 2147483647 w 146"/>
                <a:gd name="T17" fmla="*/ 2147483647 h 52"/>
                <a:gd name="T18" fmla="*/ 2147483647 w 146"/>
                <a:gd name="T19" fmla="*/ 2147483647 h 52"/>
                <a:gd name="T20" fmla="*/ 2147483647 w 146"/>
                <a:gd name="T21" fmla="*/ 2147483647 h 52"/>
                <a:gd name="T22" fmla="*/ 2147483647 w 146"/>
                <a:gd name="T23" fmla="*/ 2147483647 h 52"/>
                <a:gd name="T24" fmla="*/ 2147483647 w 146"/>
                <a:gd name="T25" fmla="*/ 2147483647 h 52"/>
                <a:gd name="T26" fmla="*/ 2147483647 w 146"/>
                <a:gd name="T27" fmla="*/ 2147483647 h 52"/>
                <a:gd name="T28" fmla="*/ 2147483647 w 146"/>
                <a:gd name="T29" fmla="*/ 2147483647 h 52"/>
                <a:gd name="T30" fmla="*/ 2147483647 w 146"/>
                <a:gd name="T31" fmla="*/ 2147483647 h 52"/>
                <a:gd name="T32" fmla="*/ 2147483647 w 146"/>
                <a:gd name="T33" fmla="*/ 2147483647 h 52"/>
                <a:gd name="T34" fmla="*/ 2147483647 w 146"/>
                <a:gd name="T35" fmla="*/ 2147483647 h 52"/>
                <a:gd name="T36" fmla="*/ 2147483647 w 146"/>
                <a:gd name="T37" fmla="*/ 0 h 52"/>
                <a:gd name="T38" fmla="*/ 2147483647 w 146"/>
                <a:gd name="T39" fmla="*/ 2147483647 h 52"/>
                <a:gd name="T40" fmla="*/ 2147483647 w 146"/>
                <a:gd name="T41" fmla="*/ 2147483647 h 52"/>
                <a:gd name="T42" fmla="*/ 2147483647 w 146"/>
                <a:gd name="T43" fmla="*/ 2147483647 h 52"/>
                <a:gd name="T44" fmla="*/ 2147483647 w 146"/>
                <a:gd name="T45" fmla="*/ 2147483647 h 52"/>
                <a:gd name="T46" fmla="*/ 2147483647 w 146"/>
                <a:gd name="T47" fmla="*/ 2147483647 h 52"/>
                <a:gd name="T48" fmla="*/ 2147483647 w 146"/>
                <a:gd name="T49" fmla="*/ 2147483647 h 52"/>
                <a:gd name="T50" fmla="*/ 2147483647 w 146"/>
                <a:gd name="T51" fmla="*/ 2147483647 h 52"/>
                <a:gd name="T52" fmla="*/ 2147483647 w 146"/>
                <a:gd name="T53" fmla="*/ 2147483647 h 52"/>
                <a:gd name="T54" fmla="*/ 2147483647 w 146"/>
                <a:gd name="T55" fmla="*/ 2147483647 h 52"/>
                <a:gd name="T56" fmla="*/ 0 w 146"/>
                <a:gd name="T57" fmla="*/ 2147483647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7" name="Freeform 396"/>
            <p:cNvSpPr>
              <a:spLocks/>
            </p:cNvSpPr>
            <p:nvPr/>
          </p:nvSpPr>
          <p:spPr bwMode="auto">
            <a:xfrm>
              <a:off x="2192338" y="1951038"/>
              <a:ext cx="26987" cy="15875"/>
            </a:xfrm>
            <a:custGeom>
              <a:avLst/>
              <a:gdLst>
                <a:gd name="T0" fmla="*/ 2147483647 w 60"/>
                <a:gd name="T1" fmla="*/ 0 h 31"/>
                <a:gd name="T2" fmla="*/ 2147483647 w 60"/>
                <a:gd name="T3" fmla="*/ 0 h 31"/>
                <a:gd name="T4" fmla="*/ 2147483647 w 60"/>
                <a:gd name="T5" fmla="*/ 0 h 31"/>
                <a:gd name="T6" fmla="*/ 2147483647 w 60"/>
                <a:gd name="T7" fmla="*/ 0 h 31"/>
                <a:gd name="T8" fmla="*/ 2147483647 w 60"/>
                <a:gd name="T9" fmla="*/ 0 h 31"/>
                <a:gd name="T10" fmla="*/ 2147483647 w 60"/>
                <a:gd name="T11" fmla="*/ 0 h 31"/>
                <a:gd name="T12" fmla="*/ 2147483647 w 60"/>
                <a:gd name="T13" fmla="*/ 2147483647 h 31"/>
                <a:gd name="T14" fmla="*/ 2147483647 w 60"/>
                <a:gd name="T15" fmla="*/ 2147483647 h 31"/>
                <a:gd name="T16" fmla="*/ 2147483647 w 60"/>
                <a:gd name="T17" fmla="*/ 2147483647 h 31"/>
                <a:gd name="T18" fmla="*/ 2147483647 w 60"/>
                <a:gd name="T19" fmla="*/ 2147483647 h 31"/>
                <a:gd name="T20" fmla="*/ 0 w 60"/>
                <a:gd name="T21" fmla="*/ 2147483647 h 31"/>
                <a:gd name="T22" fmla="*/ 2147483647 w 60"/>
                <a:gd name="T23" fmla="*/ 2147483647 h 31"/>
                <a:gd name="T24" fmla="*/ 2147483647 w 60"/>
                <a:gd name="T25" fmla="*/ 2147483647 h 31"/>
                <a:gd name="T26" fmla="*/ 2147483647 w 60"/>
                <a:gd name="T27" fmla="*/ 2147483647 h 31"/>
                <a:gd name="T28" fmla="*/ 2147483647 w 60"/>
                <a:gd name="T29" fmla="*/ 2147483647 h 31"/>
                <a:gd name="T30" fmla="*/ 2147483647 w 60"/>
                <a:gd name="T31" fmla="*/ 2147483647 h 31"/>
                <a:gd name="T32" fmla="*/ 2147483647 w 60"/>
                <a:gd name="T33" fmla="*/ 2147483647 h 31"/>
                <a:gd name="T34" fmla="*/ 2147483647 w 60"/>
                <a:gd name="T35" fmla="*/ 2147483647 h 31"/>
                <a:gd name="T36" fmla="*/ 2147483647 w 60"/>
                <a:gd name="T37" fmla="*/ 2147483647 h 31"/>
                <a:gd name="T38" fmla="*/ 2147483647 w 60"/>
                <a:gd name="T39" fmla="*/ 2147483647 h 31"/>
                <a:gd name="T40" fmla="*/ 2147483647 w 60"/>
                <a:gd name="T41" fmla="*/ 2147483647 h 31"/>
                <a:gd name="T42" fmla="*/ 2147483647 w 60"/>
                <a:gd name="T43" fmla="*/ 2147483647 h 31"/>
                <a:gd name="T44" fmla="*/ 2147483647 w 60"/>
                <a:gd name="T45" fmla="*/ 2147483647 h 31"/>
                <a:gd name="T46" fmla="*/ 2147483647 w 60"/>
                <a:gd name="T47" fmla="*/ 2147483647 h 31"/>
                <a:gd name="T48" fmla="*/ 2147483647 w 60"/>
                <a:gd name="T49" fmla="*/ 2147483647 h 31"/>
                <a:gd name="T50" fmla="*/ 214748364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8" name="Freeform 397"/>
            <p:cNvSpPr>
              <a:spLocks/>
            </p:cNvSpPr>
            <p:nvPr/>
          </p:nvSpPr>
          <p:spPr bwMode="auto">
            <a:xfrm>
              <a:off x="2824163" y="2687638"/>
              <a:ext cx="34925" cy="31750"/>
            </a:xfrm>
            <a:custGeom>
              <a:avLst/>
              <a:gdLst>
                <a:gd name="T0" fmla="*/ 0 w 80"/>
                <a:gd name="T1" fmla="*/ 2147483647 h 62"/>
                <a:gd name="T2" fmla="*/ 2147483647 w 80"/>
                <a:gd name="T3" fmla="*/ 2147483647 h 62"/>
                <a:gd name="T4" fmla="*/ 2147483647 w 80"/>
                <a:gd name="T5" fmla="*/ 2147483647 h 62"/>
                <a:gd name="T6" fmla="*/ 2147483647 w 80"/>
                <a:gd name="T7" fmla="*/ 2147483647 h 62"/>
                <a:gd name="T8" fmla="*/ 2147483647 w 80"/>
                <a:gd name="T9" fmla="*/ 2147483647 h 62"/>
                <a:gd name="T10" fmla="*/ 2147483647 w 80"/>
                <a:gd name="T11" fmla="*/ 2147483647 h 62"/>
                <a:gd name="T12" fmla="*/ 2147483647 w 80"/>
                <a:gd name="T13" fmla="*/ 2147483647 h 62"/>
                <a:gd name="T14" fmla="*/ 2147483647 w 80"/>
                <a:gd name="T15" fmla="*/ 2147483647 h 62"/>
                <a:gd name="T16" fmla="*/ 2147483647 w 80"/>
                <a:gd name="T17" fmla="*/ 2147483647 h 62"/>
                <a:gd name="T18" fmla="*/ 2147483647 w 80"/>
                <a:gd name="T19" fmla="*/ 2147483647 h 62"/>
                <a:gd name="T20" fmla="*/ 2147483647 w 80"/>
                <a:gd name="T21" fmla="*/ 2147483647 h 62"/>
                <a:gd name="T22" fmla="*/ 2147483647 w 80"/>
                <a:gd name="T23" fmla="*/ 2147483647 h 62"/>
                <a:gd name="T24" fmla="*/ 2147483647 w 80"/>
                <a:gd name="T25" fmla="*/ 2147483647 h 62"/>
                <a:gd name="T26" fmla="*/ 2147483647 w 80"/>
                <a:gd name="T27" fmla="*/ 2147483647 h 62"/>
                <a:gd name="T28" fmla="*/ 2147483647 w 80"/>
                <a:gd name="T29" fmla="*/ 2147483647 h 62"/>
                <a:gd name="T30" fmla="*/ 2147483647 w 80"/>
                <a:gd name="T31" fmla="*/ 2147483647 h 62"/>
                <a:gd name="T32" fmla="*/ 2147483647 w 80"/>
                <a:gd name="T33" fmla="*/ 2147483647 h 62"/>
                <a:gd name="T34" fmla="*/ 2147483647 w 80"/>
                <a:gd name="T35" fmla="*/ 2147483647 h 62"/>
                <a:gd name="T36" fmla="*/ 2147483647 w 80"/>
                <a:gd name="T37" fmla="*/ 0 h 62"/>
                <a:gd name="T38" fmla="*/ 2147483647 w 80"/>
                <a:gd name="T39" fmla="*/ 0 h 62"/>
                <a:gd name="T40" fmla="*/ 2147483647 w 80"/>
                <a:gd name="T41" fmla="*/ 2147483647 h 62"/>
                <a:gd name="T42" fmla="*/ 2147483647 w 80"/>
                <a:gd name="T43" fmla="*/ 2147483647 h 62"/>
                <a:gd name="T44" fmla="*/ 2147483647 w 80"/>
                <a:gd name="T45" fmla="*/ 2147483647 h 62"/>
                <a:gd name="T46" fmla="*/ 2147483647 w 80"/>
                <a:gd name="T47" fmla="*/ 2147483647 h 62"/>
                <a:gd name="T48" fmla="*/ 2147483647 w 80"/>
                <a:gd name="T49" fmla="*/ 2147483647 h 62"/>
                <a:gd name="T50" fmla="*/ 2147483647 w 80"/>
                <a:gd name="T51" fmla="*/ 2147483647 h 62"/>
                <a:gd name="T52" fmla="*/ 2147483647 w 80"/>
                <a:gd name="T53" fmla="*/ 2147483647 h 62"/>
                <a:gd name="T54" fmla="*/ 2147483647 w 80"/>
                <a:gd name="T55" fmla="*/ 2147483647 h 62"/>
                <a:gd name="T56" fmla="*/ 0 w 80"/>
                <a:gd name="T57" fmla="*/ 2147483647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89" name="Freeform 398"/>
            <p:cNvSpPr>
              <a:spLocks/>
            </p:cNvSpPr>
            <p:nvPr/>
          </p:nvSpPr>
          <p:spPr bwMode="auto">
            <a:xfrm>
              <a:off x="2625725" y="2625725"/>
              <a:ext cx="44450" cy="25400"/>
            </a:xfrm>
            <a:custGeom>
              <a:avLst/>
              <a:gdLst>
                <a:gd name="T0" fmla="*/ 2147483647 w 106"/>
                <a:gd name="T1" fmla="*/ 2147483647 h 49"/>
                <a:gd name="T2" fmla="*/ 2147483647 w 106"/>
                <a:gd name="T3" fmla="*/ 2147483647 h 49"/>
                <a:gd name="T4" fmla="*/ 2147483647 w 106"/>
                <a:gd name="T5" fmla="*/ 2147483647 h 49"/>
                <a:gd name="T6" fmla="*/ 2147483647 w 106"/>
                <a:gd name="T7" fmla="*/ 2147483647 h 49"/>
                <a:gd name="T8" fmla="*/ 2147483647 w 106"/>
                <a:gd name="T9" fmla="*/ 2147483647 h 49"/>
                <a:gd name="T10" fmla="*/ 2147483647 w 106"/>
                <a:gd name="T11" fmla="*/ 2147483647 h 49"/>
                <a:gd name="T12" fmla="*/ 2147483647 w 106"/>
                <a:gd name="T13" fmla="*/ 2147483647 h 49"/>
                <a:gd name="T14" fmla="*/ 2147483647 w 106"/>
                <a:gd name="T15" fmla="*/ 0 h 49"/>
                <a:gd name="T16" fmla="*/ 2147483647 w 106"/>
                <a:gd name="T17" fmla="*/ 0 h 49"/>
                <a:gd name="T18" fmla="*/ 2147483647 w 106"/>
                <a:gd name="T19" fmla="*/ 0 h 49"/>
                <a:gd name="T20" fmla="*/ 0 w 106"/>
                <a:gd name="T21" fmla="*/ 0 h 49"/>
                <a:gd name="T22" fmla="*/ 2147483647 w 106"/>
                <a:gd name="T23" fmla="*/ 2147483647 h 49"/>
                <a:gd name="T24" fmla="*/ 2147483647 w 106"/>
                <a:gd name="T25" fmla="*/ 2147483647 h 49"/>
                <a:gd name="T26" fmla="*/ 2147483647 w 106"/>
                <a:gd name="T27" fmla="*/ 2147483647 h 49"/>
                <a:gd name="T28" fmla="*/ 2147483647 w 106"/>
                <a:gd name="T29" fmla="*/ 2147483647 h 49"/>
                <a:gd name="T30" fmla="*/ 2147483647 w 106"/>
                <a:gd name="T31" fmla="*/ 2147483647 h 49"/>
                <a:gd name="T32" fmla="*/ 2147483647 w 106"/>
                <a:gd name="T33" fmla="*/ 2147483647 h 49"/>
                <a:gd name="T34" fmla="*/ 2147483647 w 106"/>
                <a:gd name="T35" fmla="*/ 2147483647 h 49"/>
                <a:gd name="T36" fmla="*/ 2147483647 w 106"/>
                <a:gd name="T37" fmla="*/ 2147483647 h 49"/>
                <a:gd name="T38" fmla="*/ 2147483647 w 106"/>
                <a:gd name="T39" fmla="*/ 2147483647 h 49"/>
                <a:gd name="T40" fmla="*/ 2147483647 w 106"/>
                <a:gd name="T41" fmla="*/ 2147483647 h 49"/>
                <a:gd name="T42" fmla="*/ 2147483647 w 106"/>
                <a:gd name="T43" fmla="*/ 2147483647 h 49"/>
                <a:gd name="T44" fmla="*/ 2147483647 w 106"/>
                <a:gd name="T45" fmla="*/ 2147483647 h 49"/>
                <a:gd name="T46" fmla="*/ 2147483647 w 106"/>
                <a:gd name="T47" fmla="*/ 2147483647 h 49"/>
                <a:gd name="T48" fmla="*/ 2147483647 w 106"/>
                <a:gd name="T49" fmla="*/ 2147483647 h 49"/>
                <a:gd name="T50" fmla="*/ 2147483647 w 106"/>
                <a:gd name="T51" fmla="*/ 2147483647 h 49"/>
                <a:gd name="T52" fmla="*/ 2147483647 w 106"/>
                <a:gd name="T53" fmla="*/ 2147483647 h 49"/>
                <a:gd name="T54" fmla="*/ 2147483647 w 106"/>
                <a:gd name="T55" fmla="*/ 2147483647 h 49"/>
                <a:gd name="T56" fmla="*/ 2147483647 w 106"/>
                <a:gd name="T57" fmla="*/ 2147483647 h 49"/>
                <a:gd name="T58" fmla="*/ 2147483647 w 106"/>
                <a:gd name="T59" fmla="*/ 2147483647 h 49"/>
                <a:gd name="T60" fmla="*/ 2147483647 w 106"/>
                <a:gd name="T61" fmla="*/ 2147483647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0" name="Freeform 399"/>
            <p:cNvSpPr>
              <a:spLocks/>
            </p:cNvSpPr>
            <p:nvPr/>
          </p:nvSpPr>
          <p:spPr bwMode="auto">
            <a:xfrm>
              <a:off x="2647950" y="2687638"/>
              <a:ext cx="19050" cy="11112"/>
            </a:xfrm>
            <a:custGeom>
              <a:avLst/>
              <a:gdLst>
                <a:gd name="T0" fmla="*/ 0 w 47"/>
                <a:gd name="T1" fmla="*/ 2147483647 h 22"/>
                <a:gd name="T2" fmla="*/ 2147483647 w 47"/>
                <a:gd name="T3" fmla="*/ 2147483647 h 22"/>
                <a:gd name="T4" fmla="*/ 2147483647 w 47"/>
                <a:gd name="T5" fmla="*/ 2147483647 h 22"/>
                <a:gd name="T6" fmla="*/ 2147483647 w 47"/>
                <a:gd name="T7" fmla="*/ 2147483647 h 22"/>
                <a:gd name="T8" fmla="*/ 2147483647 w 47"/>
                <a:gd name="T9" fmla="*/ 2147483647 h 22"/>
                <a:gd name="T10" fmla="*/ 2147483647 w 47"/>
                <a:gd name="T11" fmla="*/ 2147483647 h 22"/>
                <a:gd name="T12" fmla="*/ 2147483647 w 47"/>
                <a:gd name="T13" fmla="*/ 2147483647 h 22"/>
                <a:gd name="T14" fmla="*/ 2147483647 w 47"/>
                <a:gd name="T15" fmla="*/ 2147483647 h 22"/>
                <a:gd name="T16" fmla="*/ 2147483647 w 47"/>
                <a:gd name="T17" fmla="*/ 2147483647 h 22"/>
                <a:gd name="T18" fmla="*/ 2147483647 w 47"/>
                <a:gd name="T19" fmla="*/ 2147483647 h 22"/>
                <a:gd name="T20" fmla="*/ 2147483647 w 47"/>
                <a:gd name="T21" fmla="*/ 0 h 22"/>
                <a:gd name="T22" fmla="*/ 0 w 47"/>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1" name="Freeform 400"/>
            <p:cNvSpPr>
              <a:spLocks/>
            </p:cNvSpPr>
            <p:nvPr/>
          </p:nvSpPr>
          <p:spPr bwMode="auto">
            <a:xfrm>
              <a:off x="2659063" y="2733675"/>
              <a:ext cx="23812" cy="19050"/>
            </a:xfrm>
            <a:custGeom>
              <a:avLst/>
              <a:gdLst>
                <a:gd name="T0" fmla="*/ 2147483647 w 53"/>
                <a:gd name="T1" fmla="*/ 0 h 32"/>
                <a:gd name="T2" fmla="*/ 2147483647 w 53"/>
                <a:gd name="T3" fmla="*/ 2147483647 h 32"/>
                <a:gd name="T4" fmla="*/ 2147483647 w 53"/>
                <a:gd name="T5" fmla="*/ 2147483647 h 32"/>
                <a:gd name="T6" fmla="*/ 2147483647 w 53"/>
                <a:gd name="T7" fmla="*/ 2147483647 h 32"/>
                <a:gd name="T8" fmla="*/ 0 w 53"/>
                <a:gd name="T9" fmla="*/ 2147483647 h 32"/>
                <a:gd name="T10" fmla="*/ 2147483647 w 53"/>
                <a:gd name="T11" fmla="*/ 2147483647 h 32"/>
                <a:gd name="T12" fmla="*/ 2147483647 w 53"/>
                <a:gd name="T13" fmla="*/ 2147483647 h 32"/>
                <a:gd name="T14" fmla="*/ 2147483647 w 53"/>
                <a:gd name="T15" fmla="*/ 2147483647 h 32"/>
                <a:gd name="T16" fmla="*/ 2147483647 w 53"/>
                <a:gd name="T17" fmla="*/ 2147483647 h 32"/>
                <a:gd name="T18" fmla="*/ 2147483647 w 53"/>
                <a:gd name="T19" fmla="*/ 2147483647 h 32"/>
                <a:gd name="T20" fmla="*/ 2147483647 w 53"/>
                <a:gd name="T21" fmla="*/ 2147483647 h 32"/>
                <a:gd name="T22" fmla="*/ 2147483647 w 53"/>
                <a:gd name="T23" fmla="*/ 2147483647 h 32"/>
                <a:gd name="T24" fmla="*/ 214748364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2" name="Freeform 401"/>
            <p:cNvSpPr>
              <a:spLocks/>
            </p:cNvSpPr>
            <p:nvPr/>
          </p:nvSpPr>
          <p:spPr bwMode="auto">
            <a:xfrm>
              <a:off x="2446338" y="2247900"/>
              <a:ext cx="19050" cy="19050"/>
            </a:xfrm>
            <a:custGeom>
              <a:avLst/>
              <a:gdLst>
                <a:gd name="T0" fmla="*/ 2147483647 w 46"/>
                <a:gd name="T1" fmla="*/ 2147483647 h 34"/>
                <a:gd name="T2" fmla="*/ 0 w 46"/>
                <a:gd name="T3" fmla="*/ 2147483647 h 34"/>
                <a:gd name="T4" fmla="*/ 0 w 46"/>
                <a:gd name="T5" fmla="*/ 2147483647 h 34"/>
                <a:gd name="T6" fmla="*/ 2147483647 w 46"/>
                <a:gd name="T7" fmla="*/ 2147483647 h 34"/>
                <a:gd name="T8" fmla="*/ 2147483647 w 46"/>
                <a:gd name="T9" fmla="*/ 2147483647 h 34"/>
                <a:gd name="T10" fmla="*/ 2147483647 w 46"/>
                <a:gd name="T11" fmla="*/ 2147483647 h 34"/>
                <a:gd name="T12" fmla="*/ 2147483647 w 46"/>
                <a:gd name="T13" fmla="*/ 2147483647 h 34"/>
                <a:gd name="T14" fmla="*/ 2147483647 w 46"/>
                <a:gd name="T15" fmla="*/ 2147483647 h 34"/>
                <a:gd name="T16" fmla="*/ 2147483647 w 46"/>
                <a:gd name="T17" fmla="*/ 2147483647 h 34"/>
                <a:gd name="T18" fmla="*/ 2147483647 w 46"/>
                <a:gd name="T19" fmla="*/ 2147483647 h 34"/>
                <a:gd name="T20" fmla="*/ 2147483647 w 46"/>
                <a:gd name="T21" fmla="*/ 2147483647 h 34"/>
                <a:gd name="T22" fmla="*/ 2147483647 w 46"/>
                <a:gd name="T23" fmla="*/ 2147483647 h 34"/>
                <a:gd name="T24" fmla="*/ 2147483647 w 46"/>
                <a:gd name="T25" fmla="*/ 2147483647 h 34"/>
                <a:gd name="T26" fmla="*/ 2147483647 w 46"/>
                <a:gd name="T27" fmla="*/ 0 h 34"/>
                <a:gd name="T28" fmla="*/ 2147483647 w 46"/>
                <a:gd name="T29" fmla="*/ 0 h 34"/>
                <a:gd name="T30" fmla="*/ 2147483647 w 46"/>
                <a:gd name="T31" fmla="*/ 0 h 34"/>
                <a:gd name="T32" fmla="*/ 2147483647 w 46"/>
                <a:gd name="T33" fmla="*/ 2147483647 h 34"/>
                <a:gd name="T34" fmla="*/ 2147483647 w 46"/>
                <a:gd name="T35" fmla="*/ 2147483647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3" name="Freeform 402"/>
            <p:cNvSpPr>
              <a:spLocks/>
            </p:cNvSpPr>
            <p:nvPr/>
          </p:nvSpPr>
          <p:spPr bwMode="auto">
            <a:xfrm>
              <a:off x="2251075" y="1906588"/>
              <a:ext cx="22225" cy="12700"/>
            </a:xfrm>
            <a:custGeom>
              <a:avLst/>
              <a:gdLst>
                <a:gd name="T0" fmla="*/ 0 w 48"/>
                <a:gd name="T1" fmla="*/ 2147483647 h 25"/>
                <a:gd name="T2" fmla="*/ 2147483647 w 48"/>
                <a:gd name="T3" fmla="*/ 2147483647 h 25"/>
                <a:gd name="T4" fmla="*/ 2147483647 w 48"/>
                <a:gd name="T5" fmla="*/ 2147483647 h 25"/>
                <a:gd name="T6" fmla="*/ 2147483647 w 48"/>
                <a:gd name="T7" fmla="*/ 2147483647 h 25"/>
                <a:gd name="T8" fmla="*/ 2147483647 w 48"/>
                <a:gd name="T9" fmla="*/ 2147483647 h 25"/>
                <a:gd name="T10" fmla="*/ 2147483647 w 48"/>
                <a:gd name="T11" fmla="*/ 2147483647 h 25"/>
                <a:gd name="T12" fmla="*/ 2147483647 w 48"/>
                <a:gd name="T13" fmla="*/ 2147483647 h 25"/>
                <a:gd name="T14" fmla="*/ 2147483647 w 48"/>
                <a:gd name="T15" fmla="*/ 2147483647 h 25"/>
                <a:gd name="T16" fmla="*/ 2147483647 w 48"/>
                <a:gd name="T17" fmla="*/ 0 h 25"/>
                <a:gd name="T18" fmla="*/ 2147483647 w 48"/>
                <a:gd name="T19" fmla="*/ 2147483647 h 25"/>
                <a:gd name="T20" fmla="*/ 2147483647 w 48"/>
                <a:gd name="T21" fmla="*/ 2147483647 h 25"/>
                <a:gd name="T22" fmla="*/ 2147483647 w 48"/>
                <a:gd name="T23" fmla="*/ 2147483647 h 25"/>
                <a:gd name="T24" fmla="*/ 2147483647 w 48"/>
                <a:gd name="T25" fmla="*/ 2147483647 h 25"/>
                <a:gd name="T26" fmla="*/ 2147483647 w 48"/>
                <a:gd name="T27" fmla="*/ 2147483647 h 25"/>
                <a:gd name="T28" fmla="*/ 0 w 48"/>
                <a:gd name="T29" fmla="*/ 2147483647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4" name="Freeform 403"/>
            <p:cNvSpPr>
              <a:spLocks/>
            </p:cNvSpPr>
            <p:nvPr/>
          </p:nvSpPr>
          <p:spPr bwMode="auto">
            <a:xfrm>
              <a:off x="2303463" y="1849438"/>
              <a:ext cx="9525" cy="17462"/>
            </a:xfrm>
            <a:custGeom>
              <a:avLst/>
              <a:gdLst>
                <a:gd name="T0" fmla="*/ 0 w 30"/>
                <a:gd name="T1" fmla="*/ 0 h 37"/>
                <a:gd name="T2" fmla="*/ 0 w 30"/>
                <a:gd name="T3" fmla="*/ 2147483647 h 37"/>
                <a:gd name="T4" fmla="*/ 2147483647 w 30"/>
                <a:gd name="T5" fmla="*/ 2147483647 h 37"/>
                <a:gd name="T6" fmla="*/ 2147483647 w 30"/>
                <a:gd name="T7" fmla="*/ 2147483647 h 37"/>
                <a:gd name="T8" fmla="*/ 2147483647 w 30"/>
                <a:gd name="T9" fmla="*/ 2147483647 h 37"/>
                <a:gd name="T10" fmla="*/ 2147483647 w 30"/>
                <a:gd name="T11" fmla="*/ 2147483647 h 37"/>
                <a:gd name="T12" fmla="*/ 2147483647 w 30"/>
                <a:gd name="T13" fmla="*/ 2147483647 h 37"/>
                <a:gd name="T14" fmla="*/ 2147483647 w 30"/>
                <a:gd name="T15" fmla="*/ 2147483647 h 37"/>
                <a:gd name="T16" fmla="*/ 2147483647 w 30"/>
                <a:gd name="T17" fmla="*/ 2147483647 h 37"/>
                <a:gd name="T18" fmla="*/ 2147483647 w 30"/>
                <a:gd name="T19" fmla="*/ 2147483647 h 37"/>
                <a:gd name="T20" fmla="*/ 2147483647 w 30"/>
                <a:gd name="T21" fmla="*/ 2147483647 h 37"/>
                <a:gd name="T22" fmla="*/ 214748364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5" name="Freeform 404"/>
            <p:cNvSpPr>
              <a:spLocks/>
            </p:cNvSpPr>
            <p:nvPr/>
          </p:nvSpPr>
          <p:spPr bwMode="auto">
            <a:xfrm>
              <a:off x="2290763" y="1881188"/>
              <a:ext cx="47625" cy="25400"/>
            </a:xfrm>
            <a:custGeom>
              <a:avLst/>
              <a:gdLst>
                <a:gd name="T0" fmla="*/ 2147483647 w 113"/>
                <a:gd name="T1" fmla="*/ 2147483647 h 46"/>
                <a:gd name="T2" fmla="*/ 2147483647 w 113"/>
                <a:gd name="T3" fmla="*/ 2147483647 h 46"/>
                <a:gd name="T4" fmla="*/ 2147483647 w 113"/>
                <a:gd name="T5" fmla="*/ 2147483647 h 46"/>
                <a:gd name="T6" fmla="*/ 2147483647 w 113"/>
                <a:gd name="T7" fmla="*/ 2147483647 h 46"/>
                <a:gd name="T8" fmla="*/ 2147483647 w 113"/>
                <a:gd name="T9" fmla="*/ 2147483647 h 46"/>
                <a:gd name="T10" fmla="*/ 2147483647 w 113"/>
                <a:gd name="T11" fmla="*/ 2147483647 h 46"/>
                <a:gd name="T12" fmla="*/ 0 w 113"/>
                <a:gd name="T13" fmla="*/ 2147483647 h 46"/>
                <a:gd name="T14" fmla="*/ 2147483647 w 113"/>
                <a:gd name="T15" fmla="*/ 2147483647 h 46"/>
                <a:gd name="T16" fmla="*/ 2147483647 w 113"/>
                <a:gd name="T17" fmla="*/ 2147483647 h 46"/>
                <a:gd name="T18" fmla="*/ 2147483647 w 113"/>
                <a:gd name="T19" fmla="*/ 2147483647 h 46"/>
                <a:gd name="T20" fmla="*/ 2147483647 w 113"/>
                <a:gd name="T21" fmla="*/ 2147483647 h 46"/>
                <a:gd name="T22" fmla="*/ 2147483647 w 113"/>
                <a:gd name="T23" fmla="*/ 2147483647 h 46"/>
                <a:gd name="T24" fmla="*/ 2147483647 w 113"/>
                <a:gd name="T25" fmla="*/ 2147483647 h 46"/>
                <a:gd name="T26" fmla="*/ 2147483647 w 113"/>
                <a:gd name="T27" fmla="*/ 2147483647 h 46"/>
                <a:gd name="T28" fmla="*/ 2147483647 w 113"/>
                <a:gd name="T29" fmla="*/ 2147483647 h 46"/>
                <a:gd name="T30" fmla="*/ 2147483647 w 113"/>
                <a:gd name="T31" fmla="*/ 2147483647 h 46"/>
                <a:gd name="T32" fmla="*/ 2147483647 w 113"/>
                <a:gd name="T33" fmla="*/ 2147483647 h 46"/>
                <a:gd name="T34" fmla="*/ 2147483647 w 113"/>
                <a:gd name="T35" fmla="*/ 2147483647 h 46"/>
                <a:gd name="T36" fmla="*/ 2147483647 w 113"/>
                <a:gd name="T37" fmla="*/ 2147483647 h 46"/>
                <a:gd name="T38" fmla="*/ 2147483647 w 113"/>
                <a:gd name="T39" fmla="*/ 2147483647 h 46"/>
                <a:gd name="T40" fmla="*/ 2147483647 w 113"/>
                <a:gd name="T41" fmla="*/ 2147483647 h 46"/>
                <a:gd name="T42" fmla="*/ 2147483647 w 113"/>
                <a:gd name="T43" fmla="*/ 2147483647 h 46"/>
                <a:gd name="T44" fmla="*/ 2147483647 w 113"/>
                <a:gd name="T45" fmla="*/ 2147483647 h 46"/>
                <a:gd name="T46" fmla="*/ 2147483647 w 113"/>
                <a:gd name="T47" fmla="*/ 2147483647 h 46"/>
                <a:gd name="T48" fmla="*/ 2147483647 w 113"/>
                <a:gd name="T49" fmla="*/ 2147483647 h 46"/>
                <a:gd name="T50" fmla="*/ 2147483647 w 113"/>
                <a:gd name="T51" fmla="*/ 2147483647 h 46"/>
                <a:gd name="T52" fmla="*/ 2147483647 w 113"/>
                <a:gd name="T53" fmla="*/ 0 h 46"/>
                <a:gd name="T54" fmla="*/ 2147483647 w 113"/>
                <a:gd name="T55" fmla="*/ 0 h 46"/>
                <a:gd name="T56" fmla="*/ 2147483647 w 113"/>
                <a:gd name="T57" fmla="*/ 2147483647 h 46"/>
                <a:gd name="T58" fmla="*/ 2147483647 w 113"/>
                <a:gd name="T59" fmla="*/ 2147483647 h 46"/>
                <a:gd name="T60" fmla="*/ 2147483647 w 113"/>
                <a:gd name="T61" fmla="*/ 2147483647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6" name="Freeform 405"/>
            <p:cNvSpPr>
              <a:spLocks/>
            </p:cNvSpPr>
            <p:nvPr/>
          </p:nvSpPr>
          <p:spPr bwMode="auto">
            <a:xfrm>
              <a:off x="2332038" y="1870075"/>
              <a:ext cx="66675" cy="44450"/>
            </a:xfrm>
            <a:custGeom>
              <a:avLst/>
              <a:gdLst>
                <a:gd name="T0" fmla="*/ 0 w 153"/>
                <a:gd name="T1" fmla="*/ 2147483647 h 82"/>
                <a:gd name="T2" fmla="*/ 2147483647 w 153"/>
                <a:gd name="T3" fmla="*/ 2147483647 h 82"/>
                <a:gd name="T4" fmla="*/ 2147483647 w 153"/>
                <a:gd name="T5" fmla="*/ 2147483647 h 82"/>
                <a:gd name="T6" fmla="*/ 2147483647 w 153"/>
                <a:gd name="T7" fmla="*/ 2147483647 h 82"/>
                <a:gd name="T8" fmla="*/ 2147483647 w 153"/>
                <a:gd name="T9" fmla="*/ 2147483647 h 82"/>
                <a:gd name="T10" fmla="*/ 2147483647 w 153"/>
                <a:gd name="T11" fmla="*/ 2147483647 h 82"/>
                <a:gd name="T12" fmla="*/ 2147483647 w 153"/>
                <a:gd name="T13" fmla="*/ 2147483647 h 82"/>
                <a:gd name="T14" fmla="*/ 2147483647 w 153"/>
                <a:gd name="T15" fmla="*/ 2147483647 h 82"/>
                <a:gd name="T16" fmla="*/ 2147483647 w 153"/>
                <a:gd name="T17" fmla="*/ 2147483647 h 82"/>
                <a:gd name="T18" fmla="*/ 2147483647 w 153"/>
                <a:gd name="T19" fmla="*/ 2147483647 h 82"/>
                <a:gd name="T20" fmla="*/ 2147483647 w 153"/>
                <a:gd name="T21" fmla="*/ 2147483647 h 82"/>
                <a:gd name="T22" fmla="*/ 2147483647 w 153"/>
                <a:gd name="T23" fmla="*/ 2147483647 h 82"/>
                <a:gd name="T24" fmla="*/ 2147483647 w 153"/>
                <a:gd name="T25" fmla="*/ 2147483647 h 82"/>
                <a:gd name="T26" fmla="*/ 2147483647 w 153"/>
                <a:gd name="T27" fmla="*/ 2147483647 h 82"/>
                <a:gd name="T28" fmla="*/ 2147483647 w 153"/>
                <a:gd name="T29" fmla="*/ 2147483647 h 82"/>
                <a:gd name="T30" fmla="*/ 2147483647 w 153"/>
                <a:gd name="T31" fmla="*/ 2147483647 h 82"/>
                <a:gd name="T32" fmla="*/ 2147483647 w 153"/>
                <a:gd name="T33" fmla="*/ 2147483647 h 82"/>
                <a:gd name="T34" fmla="*/ 2147483647 w 153"/>
                <a:gd name="T35" fmla="*/ 2147483647 h 82"/>
                <a:gd name="T36" fmla="*/ 2147483647 w 153"/>
                <a:gd name="T37" fmla="*/ 2147483647 h 82"/>
                <a:gd name="T38" fmla="*/ 2147483647 w 153"/>
                <a:gd name="T39" fmla="*/ 2147483647 h 82"/>
                <a:gd name="T40" fmla="*/ 2147483647 w 153"/>
                <a:gd name="T41" fmla="*/ 2147483647 h 82"/>
                <a:gd name="T42" fmla="*/ 2147483647 w 153"/>
                <a:gd name="T43" fmla="*/ 2147483647 h 82"/>
                <a:gd name="T44" fmla="*/ 2147483647 w 153"/>
                <a:gd name="T45" fmla="*/ 2147483647 h 82"/>
                <a:gd name="T46" fmla="*/ 2147483647 w 153"/>
                <a:gd name="T47" fmla="*/ 2147483647 h 82"/>
                <a:gd name="T48" fmla="*/ 2147483647 w 153"/>
                <a:gd name="T49" fmla="*/ 0 h 82"/>
                <a:gd name="T50" fmla="*/ 2147483647 w 153"/>
                <a:gd name="T51" fmla="*/ 2147483647 h 82"/>
                <a:gd name="T52" fmla="*/ 2147483647 w 153"/>
                <a:gd name="T53" fmla="*/ 2147483647 h 82"/>
                <a:gd name="T54" fmla="*/ 2147483647 w 153"/>
                <a:gd name="T55" fmla="*/ 2147483647 h 82"/>
                <a:gd name="T56" fmla="*/ 2147483647 w 153"/>
                <a:gd name="T57" fmla="*/ 2147483647 h 82"/>
                <a:gd name="T58" fmla="*/ 2147483647 w 153"/>
                <a:gd name="T59" fmla="*/ 2147483647 h 82"/>
                <a:gd name="T60" fmla="*/ 2147483647 w 153"/>
                <a:gd name="T61" fmla="*/ 2147483647 h 82"/>
                <a:gd name="T62" fmla="*/ 2147483647 w 153"/>
                <a:gd name="T63" fmla="*/ 2147483647 h 82"/>
                <a:gd name="T64" fmla="*/ 2147483647 w 153"/>
                <a:gd name="T65" fmla="*/ 2147483647 h 82"/>
                <a:gd name="T66" fmla="*/ 2147483647 w 153"/>
                <a:gd name="T67" fmla="*/ 2147483647 h 82"/>
                <a:gd name="T68" fmla="*/ 2147483647 w 153"/>
                <a:gd name="T69" fmla="*/ 2147483647 h 82"/>
                <a:gd name="T70" fmla="*/ 2147483647 w 153"/>
                <a:gd name="T71" fmla="*/ 2147483647 h 82"/>
                <a:gd name="T72" fmla="*/ 2147483647 w 153"/>
                <a:gd name="T73" fmla="*/ 2147483647 h 82"/>
                <a:gd name="T74" fmla="*/ 2147483647 w 153"/>
                <a:gd name="T75" fmla="*/ 2147483647 h 82"/>
                <a:gd name="T76" fmla="*/ 2147483647 w 153"/>
                <a:gd name="T77" fmla="*/ 2147483647 h 82"/>
                <a:gd name="T78" fmla="*/ 2147483647 w 153"/>
                <a:gd name="T79" fmla="*/ 2147483647 h 82"/>
                <a:gd name="T80" fmla="*/ 2147483647 w 153"/>
                <a:gd name="T81" fmla="*/ 2147483647 h 82"/>
                <a:gd name="T82" fmla="*/ 2147483647 w 153"/>
                <a:gd name="T83" fmla="*/ 2147483647 h 82"/>
                <a:gd name="T84" fmla="*/ 2147483647 w 153"/>
                <a:gd name="T85" fmla="*/ 2147483647 h 82"/>
                <a:gd name="T86" fmla="*/ 2147483647 w 153"/>
                <a:gd name="T87" fmla="*/ 2147483647 h 82"/>
                <a:gd name="T88" fmla="*/ 2147483647 w 153"/>
                <a:gd name="T89" fmla="*/ 2147483647 h 82"/>
                <a:gd name="T90" fmla="*/ 2147483647 w 153"/>
                <a:gd name="T91" fmla="*/ 2147483647 h 82"/>
                <a:gd name="T92" fmla="*/ 0 w 153"/>
                <a:gd name="T93" fmla="*/ 214748364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7" name="Freeform 406"/>
            <p:cNvSpPr>
              <a:spLocks/>
            </p:cNvSpPr>
            <p:nvPr/>
          </p:nvSpPr>
          <p:spPr bwMode="auto">
            <a:xfrm>
              <a:off x="2398713" y="1895475"/>
              <a:ext cx="38100" cy="26988"/>
            </a:xfrm>
            <a:custGeom>
              <a:avLst/>
              <a:gdLst>
                <a:gd name="T0" fmla="*/ 0 w 86"/>
                <a:gd name="T1" fmla="*/ 2147483647 h 50"/>
                <a:gd name="T2" fmla="*/ 2147483647 w 86"/>
                <a:gd name="T3" fmla="*/ 2147483647 h 50"/>
                <a:gd name="T4" fmla="*/ 2147483647 w 86"/>
                <a:gd name="T5" fmla="*/ 2147483647 h 50"/>
                <a:gd name="T6" fmla="*/ 2147483647 w 86"/>
                <a:gd name="T7" fmla="*/ 2147483647 h 50"/>
                <a:gd name="T8" fmla="*/ 2147483647 w 86"/>
                <a:gd name="T9" fmla="*/ 2147483647 h 50"/>
                <a:gd name="T10" fmla="*/ 2147483647 w 86"/>
                <a:gd name="T11" fmla="*/ 2147483647 h 50"/>
                <a:gd name="T12" fmla="*/ 2147483647 w 86"/>
                <a:gd name="T13" fmla="*/ 2147483647 h 50"/>
                <a:gd name="T14" fmla="*/ 2147483647 w 86"/>
                <a:gd name="T15" fmla="*/ 2147483647 h 50"/>
                <a:gd name="T16" fmla="*/ 2147483647 w 86"/>
                <a:gd name="T17" fmla="*/ 2147483647 h 50"/>
                <a:gd name="T18" fmla="*/ 2147483647 w 86"/>
                <a:gd name="T19" fmla="*/ 2147483647 h 50"/>
                <a:gd name="T20" fmla="*/ 2147483647 w 86"/>
                <a:gd name="T21" fmla="*/ 2147483647 h 50"/>
                <a:gd name="T22" fmla="*/ 2147483647 w 86"/>
                <a:gd name="T23" fmla="*/ 2147483647 h 50"/>
                <a:gd name="T24" fmla="*/ 2147483647 w 86"/>
                <a:gd name="T25" fmla="*/ 2147483647 h 50"/>
                <a:gd name="T26" fmla="*/ 2147483647 w 86"/>
                <a:gd name="T27" fmla="*/ 2147483647 h 50"/>
                <a:gd name="T28" fmla="*/ 2147483647 w 86"/>
                <a:gd name="T29" fmla="*/ 2147483647 h 50"/>
                <a:gd name="T30" fmla="*/ 2147483647 w 86"/>
                <a:gd name="T31" fmla="*/ 2147483647 h 50"/>
                <a:gd name="T32" fmla="*/ 2147483647 w 86"/>
                <a:gd name="T33" fmla="*/ 2147483647 h 50"/>
                <a:gd name="T34" fmla="*/ 2147483647 w 86"/>
                <a:gd name="T35" fmla="*/ 2147483647 h 50"/>
                <a:gd name="T36" fmla="*/ 2147483647 w 86"/>
                <a:gd name="T37" fmla="*/ 2147483647 h 50"/>
                <a:gd name="T38" fmla="*/ 2147483647 w 86"/>
                <a:gd name="T39" fmla="*/ 2147483647 h 50"/>
                <a:gd name="T40" fmla="*/ 2147483647 w 86"/>
                <a:gd name="T41" fmla="*/ 0 h 50"/>
                <a:gd name="T42" fmla="*/ 0 w 86"/>
                <a:gd name="T43" fmla="*/ 2147483647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8" name="Freeform 407"/>
            <p:cNvSpPr>
              <a:spLocks/>
            </p:cNvSpPr>
            <p:nvPr/>
          </p:nvSpPr>
          <p:spPr bwMode="auto">
            <a:xfrm>
              <a:off x="2351088" y="1808163"/>
              <a:ext cx="74612" cy="41275"/>
            </a:xfrm>
            <a:custGeom>
              <a:avLst/>
              <a:gdLst>
                <a:gd name="T0" fmla="*/ 2147483647 w 172"/>
                <a:gd name="T1" fmla="*/ 2147483647 h 74"/>
                <a:gd name="T2" fmla="*/ 2147483647 w 172"/>
                <a:gd name="T3" fmla="*/ 2147483647 h 74"/>
                <a:gd name="T4" fmla="*/ 2147483647 w 172"/>
                <a:gd name="T5" fmla="*/ 2147483647 h 74"/>
                <a:gd name="T6" fmla="*/ 2147483647 w 172"/>
                <a:gd name="T7" fmla="*/ 2147483647 h 74"/>
                <a:gd name="T8" fmla="*/ 2147483647 w 172"/>
                <a:gd name="T9" fmla="*/ 2147483647 h 74"/>
                <a:gd name="T10" fmla="*/ 2147483647 w 172"/>
                <a:gd name="T11" fmla="*/ 2147483647 h 74"/>
                <a:gd name="T12" fmla="*/ 2147483647 w 172"/>
                <a:gd name="T13" fmla="*/ 2147483647 h 74"/>
                <a:gd name="T14" fmla="*/ 2147483647 w 172"/>
                <a:gd name="T15" fmla="*/ 2147483647 h 74"/>
                <a:gd name="T16" fmla="*/ 2147483647 w 172"/>
                <a:gd name="T17" fmla="*/ 2147483647 h 74"/>
                <a:gd name="T18" fmla="*/ 2147483647 w 172"/>
                <a:gd name="T19" fmla="*/ 2147483647 h 74"/>
                <a:gd name="T20" fmla="*/ 2147483647 w 172"/>
                <a:gd name="T21" fmla="*/ 2147483647 h 74"/>
                <a:gd name="T22" fmla="*/ 2147483647 w 172"/>
                <a:gd name="T23" fmla="*/ 2147483647 h 74"/>
                <a:gd name="T24" fmla="*/ 2147483647 w 172"/>
                <a:gd name="T25" fmla="*/ 2147483647 h 74"/>
                <a:gd name="T26" fmla="*/ 2147483647 w 172"/>
                <a:gd name="T27" fmla="*/ 2147483647 h 74"/>
                <a:gd name="T28" fmla="*/ 2147483647 w 172"/>
                <a:gd name="T29" fmla="*/ 2147483647 h 74"/>
                <a:gd name="T30" fmla="*/ 2147483647 w 172"/>
                <a:gd name="T31" fmla="*/ 2147483647 h 74"/>
                <a:gd name="T32" fmla="*/ 0 w 172"/>
                <a:gd name="T33" fmla="*/ 2147483647 h 74"/>
                <a:gd name="T34" fmla="*/ 2147483647 w 172"/>
                <a:gd name="T35" fmla="*/ 2147483647 h 74"/>
                <a:gd name="T36" fmla="*/ 2147483647 w 172"/>
                <a:gd name="T37" fmla="*/ 2147483647 h 74"/>
                <a:gd name="T38" fmla="*/ 2147483647 w 172"/>
                <a:gd name="T39" fmla="*/ 2147483647 h 74"/>
                <a:gd name="T40" fmla="*/ 2147483647 w 172"/>
                <a:gd name="T41" fmla="*/ 2147483647 h 74"/>
                <a:gd name="T42" fmla="*/ 2147483647 w 172"/>
                <a:gd name="T43" fmla="*/ 2147483647 h 74"/>
                <a:gd name="T44" fmla="*/ 2147483647 w 172"/>
                <a:gd name="T45" fmla="*/ 2147483647 h 74"/>
                <a:gd name="T46" fmla="*/ 2147483647 w 172"/>
                <a:gd name="T47" fmla="*/ 2147483647 h 74"/>
                <a:gd name="T48" fmla="*/ 2147483647 w 172"/>
                <a:gd name="T49" fmla="*/ 2147483647 h 74"/>
                <a:gd name="T50" fmla="*/ 2147483647 w 172"/>
                <a:gd name="T51" fmla="*/ 2147483647 h 74"/>
                <a:gd name="T52" fmla="*/ 2147483647 w 172"/>
                <a:gd name="T53" fmla="*/ 0 h 74"/>
                <a:gd name="T54" fmla="*/ 2147483647 w 172"/>
                <a:gd name="T55" fmla="*/ 0 h 74"/>
                <a:gd name="T56" fmla="*/ 2147483647 w 172"/>
                <a:gd name="T57" fmla="*/ 0 h 74"/>
                <a:gd name="T58" fmla="*/ 2147483647 w 172"/>
                <a:gd name="T59" fmla="*/ 2147483647 h 74"/>
                <a:gd name="T60" fmla="*/ 2147483647 w 172"/>
                <a:gd name="T61" fmla="*/ 2147483647 h 74"/>
                <a:gd name="T62" fmla="*/ 2147483647 w 172"/>
                <a:gd name="T63" fmla="*/ 2147483647 h 74"/>
                <a:gd name="T64" fmla="*/ 2147483647 w 172"/>
                <a:gd name="T65" fmla="*/ 2147483647 h 74"/>
                <a:gd name="T66" fmla="*/ 2147483647 w 172"/>
                <a:gd name="T67" fmla="*/ 2147483647 h 74"/>
                <a:gd name="T68" fmla="*/ 2147483647 w 172"/>
                <a:gd name="T69" fmla="*/ 2147483647 h 74"/>
                <a:gd name="T70" fmla="*/ 2147483647 w 172"/>
                <a:gd name="T71" fmla="*/ 2147483647 h 74"/>
                <a:gd name="T72" fmla="*/ 2147483647 w 172"/>
                <a:gd name="T73" fmla="*/ 2147483647 h 74"/>
                <a:gd name="T74" fmla="*/ 2147483647 w 172"/>
                <a:gd name="T75" fmla="*/ 2147483647 h 74"/>
                <a:gd name="T76" fmla="*/ 2147483647 w 172"/>
                <a:gd name="T77" fmla="*/ 2147483647 h 74"/>
                <a:gd name="T78" fmla="*/ 2147483647 w 172"/>
                <a:gd name="T79" fmla="*/ 2147483647 h 74"/>
                <a:gd name="T80" fmla="*/ 2147483647 w 172"/>
                <a:gd name="T81" fmla="*/ 2147483647 h 74"/>
                <a:gd name="T82" fmla="*/ 2147483647 w 172"/>
                <a:gd name="T83" fmla="*/ 2147483647 h 74"/>
                <a:gd name="T84" fmla="*/ 2147483647 w 172"/>
                <a:gd name="T85" fmla="*/ 2147483647 h 74"/>
                <a:gd name="T86" fmla="*/ 2147483647 w 172"/>
                <a:gd name="T87" fmla="*/ 2147483647 h 74"/>
                <a:gd name="T88" fmla="*/ 2147483647 w 172"/>
                <a:gd name="T89" fmla="*/ 2147483647 h 74"/>
                <a:gd name="T90" fmla="*/ 2147483647 w 172"/>
                <a:gd name="T91" fmla="*/ 2147483647 h 74"/>
                <a:gd name="T92" fmla="*/ 2147483647 w 172"/>
                <a:gd name="T93" fmla="*/ 2147483647 h 74"/>
                <a:gd name="T94" fmla="*/ 2147483647 w 172"/>
                <a:gd name="T95" fmla="*/ 2147483647 h 74"/>
                <a:gd name="T96" fmla="*/ 2147483647 w 172"/>
                <a:gd name="T97" fmla="*/ 2147483647 h 74"/>
                <a:gd name="T98" fmla="*/ 2147483647 w 172"/>
                <a:gd name="T99" fmla="*/ 2147483647 h 74"/>
                <a:gd name="T100" fmla="*/ 2147483647 w 172"/>
                <a:gd name="T101" fmla="*/ 2147483647 h 74"/>
                <a:gd name="T102" fmla="*/ 2147483647 w 172"/>
                <a:gd name="T103" fmla="*/ 214748364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99" name="Freeform 408"/>
            <p:cNvSpPr>
              <a:spLocks/>
            </p:cNvSpPr>
            <p:nvPr/>
          </p:nvSpPr>
          <p:spPr bwMode="auto">
            <a:xfrm>
              <a:off x="2446338" y="1820863"/>
              <a:ext cx="50800" cy="28575"/>
            </a:xfrm>
            <a:custGeom>
              <a:avLst/>
              <a:gdLst>
                <a:gd name="T0" fmla="*/ 2147483647 w 120"/>
                <a:gd name="T1" fmla="*/ 2147483647 h 49"/>
                <a:gd name="T2" fmla="*/ 2147483647 w 120"/>
                <a:gd name="T3" fmla="*/ 2147483647 h 49"/>
                <a:gd name="T4" fmla="*/ 2147483647 w 120"/>
                <a:gd name="T5" fmla="*/ 2147483647 h 49"/>
                <a:gd name="T6" fmla="*/ 2147483647 w 120"/>
                <a:gd name="T7" fmla="*/ 2147483647 h 49"/>
                <a:gd name="T8" fmla="*/ 2147483647 w 120"/>
                <a:gd name="T9" fmla="*/ 2147483647 h 49"/>
                <a:gd name="T10" fmla="*/ 2147483647 w 120"/>
                <a:gd name="T11" fmla="*/ 2147483647 h 49"/>
                <a:gd name="T12" fmla="*/ 2147483647 w 120"/>
                <a:gd name="T13" fmla="*/ 2147483647 h 49"/>
                <a:gd name="T14" fmla="*/ 2147483647 w 120"/>
                <a:gd name="T15" fmla="*/ 2147483647 h 49"/>
                <a:gd name="T16" fmla="*/ 2147483647 w 120"/>
                <a:gd name="T17" fmla="*/ 2147483647 h 49"/>
                <a:gd name="T18" fmla="*/ 2147483647 w 120"/>
                <a:gd name="T19" fmla="*/ 2147483647 h 49"/>
                <a:gd name="T20" fmla="*/ 2147483647 w 120"/>
                <a:gd name="T21" fmla="*/ 2147483647 h 49"/>
                <a:gd name="T22" fmla="*/ 2147483647 w 120"/>
                <a:gd name="T23" fmla="*/ 2147483647 h 49"/>
                <a:gd name="T24" fmla="*/ 2147483647 w 120"/>
                <a:gd name="T25" fmla="*/ 2147483647 h 49"/>
                <a:gd name="T26" fmla="*/ 2147483647 w 120"/>
                <a:gd name="T27" fmla="*/ 2147483647 h 49"/>
                <a:gd name="T28" fmla="*/ 2147483647 w 120"/>
                <a:gd name="T29" fmla="*/ 0 h 49"/>
                <a:gd name="T30" fmla="*/ 2147483647 w 120"/>
                <a:gd name="T31" fmla="*/ 2147483647 h 49"/>
                <a:gd name="T32" fmla="*/ 2147483647 w 120"/>
                <a:gd name="T33" fmla="*/ 2147483647 h 49"/>
                <a:gd name="T34" fmla="*/ 2147483647 w 120"/>
                <a:gd name="T35" fmla="*/ 2147483647 h 49"/>
                <a:gd name="T36" fmla="*/ 0 w 120"/>
                <a:gd name="T37" fmla="*/ 2147483647 h 49"/>
                <a:gd name="T38" fmla="*/ 0 w 120"/>
                <a:gd name="T39" fmla="*/ 2147483647 h 49"/>
                <a:gd name="T40" fmla="*/ 2147483647 w 120"/>
                <a:gd name="T41" fmla="*/ 2147483647 h 49"/>
                <a:gd name="T42" fmla="*/ 2147483647 w 120"/>
                <a:gd name="T43" fmla="*/ 2147483647 h 49"/>
                <a:gd name="T44" fmla="*/ 2147483647 w 120"/>
                <a:gd name="T45" fmla="*/ 2147483647 h 49"/>
                <a:gd name="T46" fmla="*/ 2147483647 w 120"/>
                <a:gd name="T47" fmla="*/ 2147483647 h 49"/>
                <a:gd name="T48" fmla="*/ 2147483647 w 120"/>
                <a:gd name="T49" fmla="*/ 2147483647 h 49"/>
                <a:gd name="T50" fmla="*/ 2147483647 w 120"/>
                <a:gd name="T51" fmla="*/ 214748364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0" name="Freeform 409"/>
            <p:cNvSpPr>
              <a:spLocks/>
            </p:cNvSpPr>
            <p:nvPr/>
          </p:nvSpPr>
          <p:spPr bwMode="auto">
            <a:xfrm>
              <a:off x="2435225" y="1858963"/>
              <a:ext cx="34925" cy="30162"/>
            </a:xfrm>
            <a:custGeom>
              <a:avLst/>
              <a:gdLst>
                <a:gd name="T0" fmla="*/ 2147483647 w 85"/>
                <a:gd name="T1" fmla="*/ 0 h 61"/>
                <a:gd name="T2" fmla="*/ 2147483647 w 85"/>
                <a:gd name="T3" fmla="*/ 2147483647 h 61"/>
                <a:gd name="T4" fmla="*/ 2147483647 w 85"/>
                <a:gd name="T5" fmla="*/ 2147483647 h 61"/>
                <a:gd name="T6" fmla="*/ 2147483647 w 85"/>
                <a:gd name="T7" fmla="*/ 2147483647 h 61"/>
                <a:gd name="T8" fmla="*/ 2147483647 w 85"/>
                <a:gd name="T9" fmla="*/ 2147483647 h 61"/>
                <a:gd name="T10" fmla="*/ 0 w 85"/>
                <a:gd name="T11" fmla="*/ 2147483647 h 61"/>
                <a:gd name="T12" fmla="*/ 0 w 85"/>
                <a:gd name="T13" fmla="*/ 2147483647 h 61"/>
                <a:gd name="T14" fmla="*/ 0 w 85"/>
                <a:gd name="T15" fmla="*/ 2147483647 h 61"/>
                <a:gd name="T16" fmla="*/ 2147483647 w 85"/>
                <a:gd name="T17" fmla="*/ 2147483647 h 61"/>
                <a:gd name="T18" fmla="*/ 2147483647 w 85"/>
                <a:gd name="T19" fmla="*/ 2147483647 h 61"/>
                <a:gd name="T20" fmla="*/ 2147483647 w 85"/>
                <a:gd name="T21" fmla="*/ 2147483647 h 61"/>
                <a:gd name="T22" fmla="*/ 2147483647 w 85"/>
                <a:gd name="T23" fmla="*/ 2147483647 h 61"/>
                <a:gd name="T24" fmla="*/ 2147483647 w 85"/>
                <a:gd name="T25" fmla="*/ 2147483647 h 61"/>
                <a:gd name="T26" fmla="*/ 2147483647 w 85"/>
                <a:gd name="T27" fmla="*/ 2147483647 h 61"/>
                <a:gd name="T28" fmla="*/ 2147483647 w 85"/>
                <a:gd name="T29" fmla="*/ 2147483647 h 61"/>
                <a:gd name="T30" fmla="*/ 2147483647 w 85"/>
                <a:gd name="T31" fmla="*/ 2147483647 h 61"/>
                <a:gd name="T32" fmla="*/ 2147483647 w 85"/>
                <a:gd name="T33" fmla="*/ 2147483647 h 61"/>
                <a:gd name="T34" fmla="*/ 2147483647 w 85"/>
                <a:gd name="T35" fmla="*/ 2147483647 h 61"/>
                <a:gd name="T36" fmla="*/ 2147483647 w 85"/>
                <a:gd name="T37" fmla="*/ 2147483647 h 61"/>
                <a:gd name="T38" fmla="*/ 2147483647 w 85"/>
                <a:gd name="T39" fmla="*/ 2147483647 h 61"/>
                <a:gd name="T40" fmla="*/ 2147483647 w 85"/>
                <a:gd name="T41" fmla="*/ 2147483647 h 61"/>
                <a:gd name="T42" fmla="*/ 2147483647 w 85"/>
                <a:gd name="T43" fmla="*/ 2147483647 h 61"/>
                <a:gd name="T44" fmla="*/ 2147483647 w 85"/>
                <a:gd name="T45" fmla="*/ 2147483647 h 61"/>
                <a:gd name="T46" fmla="*/ 2147483647 w 85"/>
                <a:gd name="T47" fmla="*/ 2147483647 h 61"/>
                <a:gd name="T48" fmla="*/ 2147483647 w 85"/>
                <a:gd name="T49" fmla="*/ 2147483647 h 61"/>
                <a:gd name="T50" fmla="*/ 2147483647 w 85"/>
                <a:gd name="T51" fmla="*/ 2147483647 h 61"/>
                <a:gd name="T52" fmla="*/ 2147483647 w 85"/>
                <a:gd name="T53" fmla="*/ 2147483647 h 61"/>
                <a:gd name="T54" fmla="*/ 2147483647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1" name="Freeform 410"/>
            <p:cNvSpPr>
              <a:spLocks/>
            </p:cNvSpPr>
            <p:nvPr/>
          </p:nvSpPr>
          <p:spPr bwMode="auto">
            <a:xfrm>
              <a:off x="2182813" y="1849438"/>
              <a:ext cx="41275" cy="9525"/>
            </a:xfrm>
            <a:custGeom>
              <a:avLst/>
              <a:gdLst>
                <a:gd name="T0" fmla="*/ 0 w 100"/>
                <a:gd name="T1" fmla="*/ 2147483647 h 19"/>
                <a:gd name="T2" fmla="*/ 2147483647 w 100"/>
                <a:gd name="T3" fmla="*/ 2147483647 h 19"/>
                <a:gd name="T4" fmla="*/ 2147483647 w 100"/>
                <a:gd name="T5" fmla="*/ 2147483647 h 19"/>
                <a:gd name="T6" fmla="*/ 2147483647 w 100"/>
                <a:gd name="T7" fmla="*/ 2147483647 h 19"/>
                <a:gd name="T8" fmla="*/ 2147483647 w 100"/>
                <a:gd name="T9" fmla="*/ 2147483647 h 19"/>
                <a:gd name="T10" fmla="*/ 2147483647 w 100"/>
                <a:gd name="T11" fmla="*/ 2147483647 h 19"/>
                <a:gd name="T12" fmla="*/ 2147483647 w 100"/>
                <a:gd name="T13" fmla="*/ 2147483647 h 19"/>
                <a:gd name="T14" fmla="*/ 2147483647 w 100"/>
                <a:gd name="T15" fmla="*/ 0 h 19"/>
                <a:gd name="T16" fmla="*/ 2147483647 w 100"/>
                <a:gd name="T17" fmla="*/ 0 h 19"/>
                <a:gd name="T18" fmla="*/ 2147483647 w 100"/>
                <a:gd name="T19" fmla="*/ 2147483647 h 19"/>
                <a:gd name="T20" fmla="*/ 2147483647 w 100"/>
                <a:gd name="T21" fmla="*/ 2147483647 h 19"/>
                <a:gd name="T22" fmla="*/ 0 w 100"/>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2" name="Freeform 411"/>
            <p:cNvSpPr>
              <a:spLocks/>
            </p:cNvSpPr>
            <p:nvPr/>
          </p:nvSpPr>
          <p:spPr bwMode="auto">
            <a:xfrm>
              <a:off x="2206625" y="1816100"/>
              <a:ext cx="71438" cy="25400"/>
            </a:xfrm>
            <a:custGeom>
              <a:avLst/>
              <a:gdLst>
                <a:gd name="T0" fmla="*/ 0 w 166"/>
                <a:gd name="T1" fmla="*/ 2147483647 h 45"/>
                <a:gd name="T2" fmla="*/ 0 w 166"/>
                <a:gd name="T3" fmla="*/ 2147483647 h 45"/>
                <a:gd name="T4" fmla="*/ 2147483647 w 166"/>
                <a:gd name="T5" fmla="*/ 2147483647 h 45"/>
                <a:gd name="T6" fmla="*/ 2147483647 w 166"/>
                <a:gd name="T7" fmla="*/ 2147483647 h 45"/>
                <a:gd name="T8" fmla="*/ 2147483647 w 166"/>
                <a:gd name="T9" fmla="*/ 2147483647 h 45"/>
                <a:gd name="T10" fmla="*/ 2147483647 w 166"/>
                <a:gd name="T11" fmla="*/ 2147483647 h 45"/>
                <a:gd name="T12" fmla="*/ 2147483647 w 166"/>
                <a:gd name="T13" fmla="*/ 2147483647 h 45"/>
                <a:gd name="T14" fmla="*/ 2147483647 w 166"/>
                <a:gd name="T15" fmla="*/ 2147483647 h 45"/>
                <a:gd name="T16" fmla="*/ 2147483647 w 166"/>
                <a:gd name="T17" fmla="*/ 2147483647 h 45"/>
                <a:gd name="T18" fmla="*/ 2147483647 w 166"/>
                <a:gd name="T19" fmla="*/ 2147483647 h 45"/>
                <a:gd name="T20" fmla="*/ 2147483647 w 166"/>
                <a:gd name="T21" fmla="*/ 2147483647 h 45"/>
                <a:gd name="T22" fmla="*/ 2147483647 w 166"/>
                <a:gd name="T23" fmla="*/ 2147483647 h 45"/>
                <a:gd name="T24" fmla="*/ 2147483647 w 166"/>
                <a:gd name="T25" fmla="*/ 2147483647 h 45"/>
                <a:gd name="T26" fmla="*/ 2147483647 w 166"/>
                <a:gd name="T27" fmla="*/ 2147483647 h 45"/>
                <a:gd name="T28" fmla="*/ 2147483647 w 166"/>
                <a:gd name="T29" fmla="*/ 2147483647 h 45"/>
                <a:gd name="T30" fmla="*/ 2147483647 w 166"/>
                <a:gd name="T31" fmla="*/ 2147483647 h 45"/>
                <a:gd name="T32" fmla="*/ 2147483647 w 166"/>
                <a:gd name="T33" fmla="*/ 0 h 45"/>
                <a:gd name="T34" fmla="*/ 2147483647 w 166"/>
                <a:gd name="T35" fmla="*/ 2147483647 h 45"/>
                <a:gd name="T36" fmla="*/ 2147483647 w 166"/>
                <a:gd name="T37" fmla="*/ 2147483647 h 45"/>
                <a:gd name="T38" fmla="*/ 2147483647 w 166"/>
                <a:gd name="T39" fmla="*/ 2147483647 h 45"/>
                <a:gd name="T40" fmla="*/ 2147483647 w 166"/>
                <a:gd name="T41" fmla="*/ 2147483647 h 45"/>
                <a:gd name="T42" fmla="*/ 2147483647 w 166"/>
                <a:gd name="T43" fmla="*/ 2147483647 h 45"/>
                <a:gd name="T44" fmla="*/ 2147483647 w 166"/>
                <a:gd name="T45" fmla="*/ 2147483647 h 45"/>
                <a:gd name="T46" fmla="*/ 2147483647 w 166"/>
                <a:gd name="T47" fmla="*/ 2147483647 h 45"/>
                <a:gd name="T48" fmla="*/ 0 w 166"/>
                <a:gd name="T49" fmla="*/ 2147483647 h 45"/>
                <a:gd name="T50" fmla="*/ 0 w 166"/>
                <a:gd name="T51" fmla="*/ 2147483647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3" name="Freeform 412"/>
            <p:cNvSpPr>
              <a:spLocks/>
            </p:cNvSpPr>
            <p:nvPr/>
          </p:nvSpPr>
          <p:spPr bwMode="auto">
            <a:xfrm>
              <a:off x="2497138" y="2222500"/>
              <a:ext cx="15875" cy="12700"/>
            </a:xfrm>
            <a:custGeom>
              <a:avLst/>
              <a:gdLst>
                <a:gd name="T0" fmla="*/ 0 w 33"/>
                <a:gd name="T1" fmla="*/ 0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0 h 25"/>
                <a:gd name="T20" fmla="*/ 2147483647 w 33"/>
                <a:gd name="T21" fmla="*/ 0 h 25"/>
                <a:gd name="T22" fmla="*/ 2147483647 w 33"/>
                <a:gd name="T23" fmla="*/ 0 h 25"/>
                <a:gd name="T24" fmla="*/ 2147483647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4" name="Freeform 413"/>
            <p:cNvSpPr>
              <a:spLocks/>
            </p:cNvSpPr>
            <p:nvPr/>
          </p:nvSpPr>
          <p:spPr bwMode="auto">
            <a:xfrm>
              <a:off x="2655888" y="2713038"/>
              <a:ext cx="20637" cy="33337"/>
            </a:xfrm>
            <a:custGeom>
              <a:avLst/>
              <a:gdLst>
                <a:gd name="T0" fmla="*/ 0 w 48"/>
                <a:gd name="T1" fmla="*/ 2147483647 h 62"/>
                <a:gd name="T2" fmla="*/ 2147483647 w 48"/>
                <a:gd name="T3" fmla="*/ 2147483647 h 62"/>
                <a:gd name="T4" fmla="*/ 2147483647 w 48"/>
                <a:gd name="T5" fmla="*/ 2147483647 h 62"/>
                <a:gd name="T6" fmla="*/ 2147483647 w 48"/>
                <a:gd name="T7" fmla="*/ 2147483647 h 62"/>
                <a:gd name="T8" fmla="*/ 2147483647 w 48"/>
                <a:gd name="T9" fmla="*/ 2147483647 h 62"/>
                <a:gd name="T10" fmla="*/ 2147483647 w 48"/>
                <a:gd name="T11" fmla="*/ 2147483647 h 62"/>
                <a:gd name="T12" fmla="*/ 2147483647 w 48"/>
                <a:gd name="T13" fmla="*/ 2147483647 h 62"/>
                <a:gd name="T14" fmla="*/ 2147483647 w 48"/>
                <a:gd name="T15" fmla="*/ 2147483647 h 62"/>
                <a:gd name="T16" fmla="*/ 2147483647 w 48"/>
                <a:gd name="T17" fmla="*/ 0 h 62"/>
                <a:gd name="T18" fmla="*/ 2147483647 w 48"/>
                <a:gd name="T19" fmla="*/ 2147483647 h 62"/>
                <a:gd name="T20" fmla="*/ 2147483647 w 48"/>
                <a:gd name="T21" fmla="*/ 2147483647 h 62"/>
                <a:gd name="T22" fmla="*/ 2147483647 w 48"/>
                <a:gd name="T23" fmla="*/ 2147483647 h 62"/>
                <a:gd name="T24" fmla="*/ 2147483647 w 48"/>
                <a:gd name="T25" fmla="*/ 2147483647 h 62"/>
                <a:gd name="T26" fmla="*/ 2147483647 w 48"/>
                <a:gd name="T27" fmla="*/ 2147483647 h 62"/>
                <a:gd name="T28" fmla="*/ 2147483647 w 48"/>
                <a:gd name="T29" fmla="*/ 2147483647 h 62"/>
                <a:gd name="T30" fmla="*/ 2147483647 w 48"/>
                <a:gd name="T31" fmla="*/ 2147483647 h 62"/>
                <a:gd name="T32" fmla="*/ 2147483647 w 48"/>
                <a:gd name="T33" fmla="*/ 2147483647 h 62"/>
                <a:gd name="T34" fmla="*/ 2147483647 w 48"/>
                <a:gd name="T35" fmla="*/ 2147483647 h 62"/>
                <a:gd name="T36" fmla="*/ 0 w 48"/>
                <a:gd name="T37" fmla="*/ 2147483647 h 62"/>
                <a:gd name="T38" fmla="*/ 0 w 48"/>
                <a:gd name="T39" fmla="*/ 2147483647 h 62"/>
                <a:gd name="T40" fmla="*/ 0 w 48"/>
                <a:gd name="T41" fmla="*/ 2147483647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5" name="Freeform 414"/>
            <p:cNvSpPr>
              <a:spLocks/>
            </p:cNvSpPr>
            <p:nvPr/>
          </p:nvSpPr>
          <p:spPr bwMode="auto">
            <a:xfrm>
              <a:off x="2586038" y="2713038"/>
              <a:ext cx="49212" cy="33337"/>
            </a:xfrm>
            <a:custGeom>
              <a:avLst/>
              <a:gdLst>
                <a:gd name="T0" fmla="*/ 2147483647 w 113"/>
                <a:gd name="T1" fmla="*/ 0 h 62"/>
                <a:gd name="T2" fmla="*/ 2147483647 w 113"/>
                <a:gd name="T3" fmla="*/ 2147483647 h 62"/>
                <a:gd name="T4" fmla="*/ 2147483647 w 113"/>
                <a:gd name="T5" fmla="*/ 2147483647 h 62"/>
                <a:gd name="T6" fmla="*/ 2147483647 w 113"/>
                <a:gd name="T7" fmla="*/ 2147483647 h 62"/>
                <a:gd name="T8" fmla="*/ 0 w 113"/>
                <a:gd name="T9" fmla="*/ 2147483647 h 62"/>
                <a:gd name="T10" fmla="*/ 2147483647 w 113"/>
                <a:gd name="T11" fmla="*/ 2147483647 h 62"/>
                <a:gd name="T12" fmla="*/ 2147483647 w 113"/>
                <a:gd name="T13" fmla="*/ 2147483647 h 62"/>
                <a:gd name="T14" fmla="*/ 2147483647 w 113"/>
                <a:gd name="T15" fmla="*/ 2147483647 h 62"/>
                <a:gd name="T16" fmla="*/ 2147483647 w 113"/>
                <a:gd name="T17" fmla="*/ 2147483647 h 62"/>
                <a:gd name="T18" fmla="*/ 2147483647 w 113"/>
                <a:gd name="T19" fmla="*/ 2147483647 h 62"/>
                <a:gd name="T20" fmla="*/ 2147483647 w 113"/>
                <a:gd name="T21" fmla="*/ 2147483647 h 62"/>
                <a:gd name="T22" fmla="*/ 2147483647 w 113"/>
                <a:gd name="T23" fmla="*/ 2147483647 h 62"/>
                <a:gd name="T24" fmla="*/ 2147483647 w 113"/>
                <a:gd name="T25" fmla="*/ 2147483647 h 62"/>
                <a:gd name="T26" fmla="*/ 2147483647 w 113"/>
                <a:gd name="T27" fmla="*/ 2147483647 h 62"/>
                <a:gd name="T28" fmla="*/ 2147483647 w 113"/>
                <a:gd name="T29" fmla="*/ 2147483647 h 62"/>
                <a:gd name="T30" fmla="*/ 2147483647 w 113"/>
                <a:gd name="T31" fmla="*/ 2147483647 h 62"/>
                <a:gd name="T32" fmla="*/ 2147483647 w 113"/>
                <a:gd name="T33" fmla="*/ 2147483647 h 62"/>
                <a:gd name="T34" fmla="*/ 2147483647 w 113"/>
                <a:gd name="T35" fmla="*/ 2147483647 h 62"/>
                <a:gd name="T36" fmla="*/ 2147483647 w 113"/>
                <a:gd name="T37" fmla="*/ 2147483647 h 62"/>
                <a:gd name="T38" fmla="*/ 2147483647 w 113"/>
                <a:gd name="T39" fmla="*/ 2147483647 h 62"/>
                <a:gd name="T40" fmla="*/ 2147483647 w 113"/>
                <a:gd name="T41" fmla="*/ 2147483647 h 62"/>
                <a:gd name="T42" fmla="*/ 2147483647 w 113"/>
                <a:gd name="T43" fmla="*/ 2147483647 h 62"/>
                <a:gd name="T44" fmla="*/ 2147483647 w 113"/>
                <a:gd name="T45" fmla="*/ 2147483647 h 62"/>
                <a:gd name="T46" fmla="*/ 2147483647 w 113"/>
                <a:gd name="T47" fmla="*/ 2147483647 h 62"/>
                <a:gd name="T48" fmla="*/ 2147483647 w 113"/>
                <a:gd name="T49" fmla="*/ 2147483647 h 62"/>
                <a:gd name="T50" fmla="*/ 2147483647 w 113"/>
                <a:gd name="T51" fmla="*/ 2147483647 h 62"/>
                <a:gd name="T52" fmla="*/ 2147483647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6" name="Freeform 415"/>
            <p:cNvSpPr>
              <a:spLocks/>
            </p:cNvSpPr>
            <p:nvPr/>
          </p:nvSpPr>
          <p:spPr bwMode="auto">
            <a:xfrm>
              <a:off x="2847975" y="1849438"/>
              <a:ext cx="38100" cy="23812"/>
            </a:xfrm>
            <a:custGeom>
              <a:avLst/>
              <a:gdLst>
                <a:gd name="T0" fmla="*/ 0 w 93"/>
                <a:gd name="T1" fmla="*/ 0 h 50"/>
                <a:gd name="T2" fmla="*/ 2147483647 w 93"/>
                <a:gd name="T3" fmla="*/ 0 h 50"/>
                <a:gd name="T4" fmla="*/ 2147483647 w 93"/>
                <a:gd name="T5" fmla="*/ 2147483647 h 50"/>
                <a:gd name="T6" fmla="*/ 2147483647 w 93"/>
                <a:gd name="T7" fmla="*/ 2147483647 h 50"/>
                <a:gd name="T8" fmla="*/ 2147483647 w 93"/>
                <a:gd name="T9" fmla="*/ 2147483647 h 50"/>
                <a:gd name="T10" fmla="*/ 2147483647 w 93"/>
                <a:gd name="T11" fmla="*/ 2147483647 h 50"/>
                <a:gd name="T12" fmla="*/ 2147483647 w 93"/>
                <a:gd name="T13" fmla="*/ 2147483647 h 50"/>
                <a:gd name="T14" fmla="*/ 2147483647 w 93"/>
                <a:gd name="T15" fmla="*/ 2147483647 h 50"/>
                <a:gd name="T16" fmla="*/ 2147483647 w 93"/>
                <a:gd name="T17" fmla="*/ 2147483647 h 50"/>
                <a:gd name="T18" fmla="*/ 2147483647 w 93"/>
                <a:gd name="T19" fmla="*/ 2147483647 h 50"/>
                <a:gd name="T20" fmla="*/ 2147483647 w 93"/>
                <a:gd name="T21" fmla="*/ 2147483647 h 50"/>
                <a:gd name="T22" fmla="*/ 2147483647 w 93"/>
                <a:gd name="T23" fmla="*/ 2147483647 h 50"/>
                <a:gd name="T24" fmla="*/ 2147483647 w 93"/>
                <a:gd name="T25" fmla="*/ 2147483647 h 50"/>
                <a:gd name="T26" fmla="*/ 2147483647 w 93"/>
                <a:gd name="T27" fmla="*/ 2147483647 h 50"/>
                <a:gd name="T28" fmla="*/ 2147483647 w 93"/>
                <a:gd name="T29" fmla="*/ 2147483647 h 50"/>
                <a:gd name="T30" fmla="*/ 2147483647 w 93"/>
                <a:gd name="T31" fmla="*/ 2147483647 h 50"/>
                <a:gd name="T32" fmla="*/ 2147483647 w 93"/>
                <a:gd name="T33" fmla="*/ 2147483647 h 50"/>
                <a:gd name="T34" fmla="*/ 2147483647 w 93"/>
                <a:gd name="T35" fmla="*/ 2147483647 h 50"/>
                <a:gd name="T36" fmla="*/ 2147483647 w 93"/>
                <a:gd name="T37" fmla="*/ 2147483647 h 50"/>
                <a:gd name="T38" fmla="*/ 2147483647 w 93"/>
                <a:gd name="T39" fmla="*/ 2147483647 h 50"/>
                <a:gd name="T40" fmla="*/ 2147483647 w 93"/>
                <a:gd name="T41" fmla="*/ 2147483647 h 50"/>
                <a:gd name="T42" fmla="*/ 2147483647 w 93"/>
                <a:gd name="T43" fmla="*/ 2147483647 h 50"/>
                <a:gd name="T44" fmla="*/ 2147483647 w 93"/>
                <a:gd name="T45" fmla="*/ 2147483647 h 50"/>
                <a:gd name="T46" fmla="*/ 2147483647 w 93"/>
                <a:gd name="T47" fmla="*/ 2147483647 h 50"/>
                <a:gd name="T48" fmla="*/ 2147483647 w 93"/>
                <a:gd name="T49" fmla="*/ 2147483647 h 50"/>
                <a:gd name="T50" fmla="*/ 2147483647 w 93"/>
                <a:gd name="T51" fmla="*/ 2147483647 h 50"/>
                <a:gd name="T52" fmla="*/ 2147483647 w 93"/>
                <a:gd name="T53" fmla="*/ 2147483647 h 50"/>
                <a:gd name="T54" fmla="*/ 2147483647 w 93"/>
                <a:gd name="T55" fmla="*/ 2147483647 h 50"/>
                <a:gd name="T56" fmla="*/ 2147483647 w 93"/>
                <a:gd name="T57" fmla="*/ 2147483647 h 50"/>
                <a:gd name="T58" fmla="*/ 0 w 93"/>
                <a:gd name="T59" fmla="*/ 2147483647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7" name="Freeform 416"/>
            <p:cNvSpPr>
              <a:spLocks/>
            </p:cNvSpPr>
            <p:nvPr/>
          </p:nvSpPr>
          <p:spPr bwMode="auto">
            <a:xfrm>
              <a:off x="2427288" y="1941513"/>
              <a:ext cx="446087" cy="315912"/>
            </a:xfrm>
            <a:custGeom>
              <a:avLst/>
              <a:gdLst>
                <a:gd name="T0" fmla="*/ 2147483647 w 1029"/>
                <a:gd name="T1" fmla="*/ 2147483647 h 604"/>
                <a:gd name="T2" fmla="*/ 2147483647 w 1029"/>
                <a:gd name="T3" fmla="*/ 2147483647 h 604"/>
                <a:gd name="T4" fmla="*/ 2147483647 w 1029"/>
                <a:gd name="T5" fmla="*/ 0 h 604"/>
                <a:gd name="T6" fmla="*/ 2147483647 w 1029"/>
                <a:gd name="T7" fmla="*/ 2147483647 h 604"/>
                <a:gd name="T8" fmla="*/ 2147483647 w 1029"/>
                <a:gd name="T9" fmla="*/ 2147483647 h 604"/>
                <a:gd name="T10" fmla="*/ 2147483647 w 1029"/>
                <a:gd name="T11" fmla="*/ 2147483647 h 604"/>
                <a:gd name="T12" fmla="*/ 2147483647 w 1029"/>
                <a:gd name="T13" fmla="*/ 2147483647 h 604"/>
                <a:gd name="T14" fmla="*/ 2147483647 w 1029"/>
                <a:gd name="T15" fmla="*/ 2147483647 h 604"/>
                <a:gd name="T16" fmla="*/ 2147483647 w 1029"/>
                <a:gd name="T17" fmla="*/ 2147483647 h 604"/>
                <a:gd name="T18" fmla="*/ 2147483647 w 1029"/>
                <a:gd name="T19" fmla="*/ 2147483647 h 604"/>
                <a:gd name="T20" fmla="*/ 2147483647 w 1029"/>
                <a:gd name="T21" fmla="*/ 2147483647 h 604"/>
                <a:gd name="T22" fmla="*/ 2147483647 w 1029"/>
                <a:gd name="T23" fmla="*/ 2147483647 h 604"/>
                <a:gd name="T24" fmla="*/ 2147483647 w 1029"/>
                <a:gd name="T25" fmla="*/ 2147483647 h 604"/>
                <a:gd name="T26" fmla="*/ 2147483647 w 1029"/>
                <a:gd name="T27" fmla="*/ 2147483647 h 604"/>
                <a:gd name="T28" fmla="*/ 2147483647 w 1029"/>
                <a:gd name="T29" fmla="*/ 2147483647 h 604"/>
                <a:gd name="T30" fmla="*/ 2147483647 w 1029"/>
                <a:gd name="T31" fmla="*/ 2147483647 h 604"/>
                <a:gd name="T32" fmla="*/ 2147483647 w 1029"/>
                <a:gd name="T33" fmla="*/ 2147483647 h 604"/>
                <a:gd name="T34" fmla="*/ 2147483647 w 1029"/>
                <a:gd name="T35" fmla="*/ 2147483647 h 604"/>
                <a:gd name="T36" fmla="*/ 2147483647 w 1029"/>
                <a:gd name="T37" fmla="*/ 2147483647 h 604"/>
                <a:gd name="T38" fmla="*/ 2147483647 w 1029"/>
                <a:gd name="T39" fmla="*/ 2147483647 h 604"/>
                <a:gd name="T40" fmla="*/ 2147483647 w 1029"/>
                <a:gd name="T41" fmla="*/ 2147483647 h 604"/>
                <a:gd name="T42" fmla="*/ 2147483647 w 1029"/>
                <a:gd name="T43" fmla="*/ 2147483647 h 604"/>
                <a:gd name="T44" fmla="*/ 2147483647 w 1029"/>
                <a:gd name="T45" fmla="*/ 2147483647 h 604"/>
                <a:gd name="T46" fmla="*/ 2147483647 w 1029"/>
                <a:gd name="T47" fmla="*/ 2147483647 h 604"/>
                <a:gd name="T48" fmla="*/ 2147483647 w 1029"/>
                <a:gd name="T49" fmla="*/ 2147483647 h 604"/>
                <a:gd name="T50" fmla="*/ 2147483647 w 1029"/>
                <a:gd name="T51" fmla="*/ 2147483647 h 604"/>
                <a:gd name="T52" fmla="*/ 2147483647 w 1029"/>
                <a:gd name="T53" fmla="*/ 2147483647 h 604"/>
                <a:gd name="T54" fmla="*/ 2147483647 w 1029"/>
                <a:gd name="T55" fmla="*/ 2147483647 h 604"/>
                <a:gd name="T56" fmla="*/ 2147483647 w 1029"/>
                <a:gd name="T57" fmla="*/ 2147483647 h 604"/>
                <a:gd name="T58" fmla="*/ 2147483647 w 1029"/>
                <a:gd name="T59" fmla="*/ 2147483647 h 604"/>
                <a:gd name="T60" fmla="*/ 2147483647 w 1029"/>
                <a:gd name="T61" fmla="*/ 2147483647 h 604"/>
                <a:gd name="T62" fmla="*/ 2147483647 w 1029"/>
                <a:gd name="T63" fmla="*/ 2147483647 h 604"/>
                <a:gd name="T64" fmla="*/ 2147483647 w 1029"/>
                <a:gd name="T65" fmla="*/ 2147483647 h 604"/>
                <a:gd name="T66" fmla="*/ 2147483647 w 1029"/>
                <a:gd name="T67" fmla="*/ 2147483647 h 604"/>
                <a:gd name="T68" fmla="*/ 2147483647 w 1029"/>
                <a:gd name="T69" fmla="*/ 2147483647 h 604"/>
                <a:gd name="T70" fmla="*/ 2147483647 w 1029"/>
                <a:gd name="T71" fmla="*/ 2147483647 h 604"/>
                <a:gd name="T72" fmla="*/ 2147483647 w 1029"/>
                <a:gd name="T73" fmla="*/ 2147483647 h 604"/>
                <a:gd name="T74" fmla="*/ 2147483647 w 1029"/>
                <a:gd name="T75" fmla="*/ 2147483647 h 604"/>
                <a:gd name="T76" fmla="*/ 2147483647 w 1029"/>
                <a:gd name="T77" fmla="*/ 2147483647 h 604"/>
                <a:gd name="T78" fmla="*/ 2147483647 w 1029"/>
                <a:gd name="T79" fmla="*/ 2147483647 h 604"/>
                <a:gd name="T80" fmla="*/ 2147483647 w 1029"/>
                <a:gd name="T81" fmla="*/ 2147483647 h 604"/>
                <a:gd name="T82" fmla="*/ 2147483647 w 1029"/>
                <a:gd name="T83" fmla="*/ 2147483647 h 604"/>
                <a:gd name="T84" fmla="*/ 2147483647 w 1029"/>
                <a:gd name="T85" fmla="*/ 2147483647 h 604"/>
                <a:gd name="T86" fmla="*/ 2147483647 w 1029"/>
                <a:gd name="T87" fmla="*/ 2147483647 h 604"/>
                <a:gd name="T88" fmla="*/ 2147483647 w 1029"/>
                <a:gd name="T89" fmla="*/ 2147483647 h 604"/>
                <a:gd name="T90" fmla="*/ 2147483647 w 1029"/>
                <a:gd name="T91" fmla="*/ 2147483647 h 604"/>
                <a:gd name="T92" fmla="*/ 2147483647 w 1029"/>
                <a:gd name="T93" fmla="*/ 2147483647 h 604"/>
                <a:gd name="T94" fmla="*/ 2147483647 w 1029"/>
                <a:gd name="T95" fmla="*/ 2147483647 h 604"/>
                <a:gd name="T96" fmla="*/ 2147483647 w 1029"/>
                <a:gd name="T97" fmla="*/ 2147483647 h 604"/>
                <a:gd name="T98" fmla="*/ 2147483647 w 1029"/>
                <a:gd name="T99" fmla="*/ 2147483647 h 604"/>
                <a:gd name="T100" fmla="*/ 2147483647 w 1029"/>
                <a:gd name="T101" fmla="*/ 2147483647 h 604"/>
                <a:gd name="T102" fmla="*/ 2147483647 w 1029"/>
                <a:gd name="T103" fmla="*/ 2147483647 h 604"/>
                <a:gd name="T104" fmla="*/ 2147483647 w 1029"/>
                <a:gd name="T105" fmla="*/ 2147483647 h 604"/>
                <a:gd name="T106" fmla="*/ 2147483647 w 1029"/>
                <a:gd name="T107" fmla="*/ 2147483647 h 604"/>
                <a:gd name="T108" fmla="*/ 2147483647 w 1029"/>
                <a:gd name="T109" fmla="*/ 2147483647 h 604"/>
                <a:gd name="T110" fmla="*/ 2147483647 w 1029"/>
                <a:gd name="T111" fmla="*/ 2147483647 h 604"/>
                <a:gd name="T112" fmla="*/ 2147483647 w 1029"/>
                <a:gd name="T113" fmla="*/ 2147483647 h 604"/>
                <a:gd name="T114" fmla="*/ 2147483647 w 1029"/>
                <a:gd name="T115" fmla="*/ 2147483647 h 604"/>
                <a:gd name="T116" fmla="*/ 2147483647 w 1029"/>
                <a:gd name="T117" fmla="*/ 2147483647 h 604"/>
                <a:gd name="T118" fmla="*/ 2147483647 w 1029"/>
                <a:gd name="T119" fmla="*/ 2147483647 h 604"/>
                <a:gd name="T120" fmla="*/ 2147483647 w 1029"/>
                <a:gd name="T121" fmla="*/ 2147483647 h 604"/>
                <a:gd name="T122" fmla="*/ 2147483647 w 1029"/>
                <a:gd name="T123" fmla="*/ 2147483647 h 604"/>
                <a:gd name="T124" fmla="*/ 2147483647 w 1029"/>
                <a:gd name="T125" fmla="*/ 2147483647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8" name="Freeform 417"/>
            <p:cNvSpPr>
              <a:spLocks/>
            </p:cNvSpPr>
            <p:nvPr/>
          </p:nvSpPr>
          <p:spPr bwMode="auto">
            <a:xfrm>
              <a:off x="2551113" y="1724025"/>
              <a:ext cx="550862" cy="168275"/>
            </a:xfrm>
            <a:custGeom>
              <a:avLst/>
              <a:gdLst>
                <a:gd name="T0" fmla="*/ 2147483647 w 1268"/>
                <a:gd name="T1" fmla="*/ 2147483647 h 321"/>
                <a:gd name="T2" fmla="*/ 2147483647 w 1268"/>
                <a:gd name="T3" fmla="*/ 2147483647 h 321"/>
                <a:gd name="T4" fmla="*/ 2147483647 w 1268"/>
                <a:gd name="T5" fmla="*/ 2147483647 h 321"/>
                <a:gd name="T6" fmla="*/ 2147483647 w 1268"/>
                <a:gd name="T7" fmla="*/ 2147483647 h 321"/>
                <a:gd name="T8" fmla="*/ 2147483647 w 1268"/>
                <a:gd name="T9" fmla="*/ 2147483647 h 321"/>
                <a:gd name="T10" fmla="*/ 2147483647 w 1268"/>
                <a:gd name="T11" fmla="*/ 2147483647 h 321"/>
                <a:gd name="T12" fmla="*/ 2147483647 w 1268"/>
                <a:gd name="T13" fmla="*/ 2147483647 h 321"/>
                <a:gd name="T14" fmla="*/ 2147483647 w 1268"/>
                <a:gd name="T15" fmla="*/ 2147483647 h 321"/>
                <a:gd name="T16" fmla="*/ 2147483647 w 1268"/>
                <a:gd name="T17" fmla="*/ 2147483647 h 321"/>
                <a:gd name="T18" fmla="*/ 2147483647 w 1268"/>
                <a:gd name="T19" fmla="*/ 2147483647 h 321"/>
                <a:gd name="T20" fmla="*/ 2147483647 w 1268"/>
                <a:gd name="T21" fmla="*/ 2147483647 h 321"/>
                <a:gd name="T22" fmla="*/ 2147483647 w 1268"/>
                <a:gd name="T23" fmla="*/ 2147483647 h 321"/>
                <a:gd name="T24" fmla="*/ 2147483647 w 1268"/>
                <a:gd name="T25" fmla="*/ 2147483647 h 321"/>
                <a:gd name="T26" fmla="*/ 2147483647 w 1268"/>
                <a:gd name="T27" fmla="*/ 2147483647 h 321"/>
                <a:gd name="T28" fmla="*/ 2147483647 w 1268"/>
                <a:gd name="T29" fmla="*/ 2147483647 h 321"/>
                <a:gd name="T30" fmla="*/ 2147483647 w 1268"/>
                <a:gd name="T31" fmla="*/ 2147483647 h 321"/>
                <a:gd name="T32" fmla="*/ 2147483647 w 1268"/>
                <a:gd name="T33" fmla="*/ 2147483647 h 321"/>
                <a:gd name="T34" fmla="*/ 2147483647 w 1268"/>
                <a:gd name="T35" fmla="*/ 2147483647 h 321"/>
                <a:gd name="T36" fmla="*/ 2147483647 w 1268"/>
                <a:gd name="T37" fmla="*/ 2147483647 h 321"/>
                <a:gd name="T38" fmla="*/ 2147483647 w 1268"/>
                <a:gd name="T39" fmla="*/ 2147483647 h 321"/>
                <a:gd name="T40" fmla="*/ 2147483647 w 1268"/>
                <a:gd name="T41" fmla="*/ 2147483647 h 321"/>
                <a:gd name="T42" fmla="*/ 2147483647 w 1268"/>
                <a:gd name="T43" fmla="*/ 2147483647 h 321"/>
                <a:gd name="T44" fmla="*/ 2147483647 w 1268"/>
                <a:gd name="T45" fmla="*/ 2147483647 h 321"/>
                <a:gd name="T46" fmla="*/ 2147483647 w 1268"/>
                <a:gd name="T47" fmla="*/ 2147483647 h 321"/>
                <a:gd name="T48" fmla="*/ 2147483647 w 1268"/>
                <a:gd name="T49" fmla="*/ 2147483647 h 321"/>
                <a:gd name="T50" fmla="*/ 2147483647 w 1268"/>
                <a:gd name="T51" fmla="*/ 2147483647 h 321"/>
                <a:gd name="T52" fmla="*/ 2147483647 w 1268"/>
                <a:gd name="T53" fmla="*/ 2147483647 h 321"/>
                <a:gd name="T54" fmla="*/ 2147483647 w 1268"/>
                <a:gd name="T55" fmla="*/ 2147483647 h 321"/>
                <a:gd name="T56" fmla="*/ 2147483647 w 1268"/>
                <a:gd name="T57" fmla="*/ 2147483647 h 321"/>
                <a:gd name="T58" fmla="*/ 2147483647 w 1268"/>
                <a:gd name="T59" fmla="*/ 2147483647 h 321"/>
                <a:gd name="T60" fmla="*/ 2147483647 w 1268"/>
                <a:gd name="T61" fmla="*/ 2147483647 h 321"/>
                <a:gd name="T62" fmla="*/ 0 w 1268"/>
                <a:gd name="T63" fmla="*/ 2147483647 h 321"/>
                <a:gd name="T64" fmla="*/ 2147483647 w 1268"/>
                <a:gd name="T65" fmla="*/ 2147483647 h 321"/>
                <a:gd name="T66" fmla="*/ 2147483647 w 1268"/>
                <a:gd name="T67" fmla="*/ 2147483647 h 321"/>
                <a:gd name="T68" fmla="*/ 2147483647 w 1268"/>
                <a:gd name="T69" fmla="*/ 2147483647 h 321"/>
                <a:gd name="T70" fmla="*/ 2147483647 w 1268"/>
                <a:gd name="T71" fmla="*/ 2147483647 h 321"/>
                <a:gd name="T72" fmla="*/ 2147483647 w 1268"/>
                <a:gd name="T73" fmla="*/ 2147483647 h 321"/>
                <a:gd name="T74" fmla="*/ 2147483647 w 1268"/>
                <a:gd name="T75" fmla="*/ 2147483647 h 321"/>
                <a:gd name="T76" fmla="*/ 2147483647 w 1268"/>
                <a:gd name="T77" fmla="*/ 2147483647 h 321"/>
                <a:gd name="T78" fmla="*/ 2147483647 w 1268"/>
                <a:gd name="T79" fmla="*/ 2147483647 h 321"/>
                <a:gd name="T80" fmla="*/ 2147483647 w 1268"/>
                <a:gd name="T81" fmla="*/ 2147483647 h 321"/>
                <a:gd name="T82" fmla="*/ 2147483647 w 1268"/>
                <a:gd name="T83" fmla="*/ 2147483647 h 321"/>
                <a:gd name="T84" fmla="*/ 2147483647 w 1268"/>
                <a:gd name="T85" fmla="*/ 2147483647 h 321"/>
                <a:gd name="T86" fmla="*/ 2147483647 w 1268"/>
                <a:gd name="T87" fmla="*/ 2147483647 h 321"/>
                <a:gd name="T88" fmla="*/ 2147483647 w 1268"/>
                <a:gd name="T89" fmla="*/ 2147483647 h 321"/>
                <a:gd name="T90" fmla="*/ 2147483647 w 1268"/>
                <a:gd name="T91" fmla="*/ 2147483647 h 321"/>
                <a:gd name="T92" fmla="*/ 2147483647 w 1268"/>
                <a:gd name="T93" fmla="*/ 2147483647 h 321"/>
                <a:gd name="T94" fmla="*/ 2147483647 w 1268"/>
                <a:gd name="T95" fmla="*/ 2147483647 h 321"/>
                <a:gd name="T96" fmla="*/ 2147483647 w 1268"/>
                <a:gd name="T97" fmla="*/ 2147483647 h 321"/>
                <a:gd name="T98" fmla="*/ 2147483647 w 1268"/>
                <a:gd name="T99" fmla="*/ 2147483647 h 321"/>
                <a:gd name="T100" fmla="*/ 2147483647 w 1268"/>
                <a:gd name="T101" fmla="*/ 2147483647 h 321"/>
                <a:gd name="T102" fmla="*/ 2147483647 w 1268"/>
                <a:gd name="T103" fmla="*/ 2147483647 h 321"/>
                <a:gd name="T104" fmla="*/ 2147483647 w 1268"/>
                <a:gd name="T105" fmla="*/ 2147483647 h 321"/>
                <a:gd name="T106" fmla="*/ 2147483647 w 1268"/>
                <a:gd name="T107" fmla="*/ 2147483647 h 321"/>
                <a:gd name="T108" fmla="*/ 2147483647 w 1268"/>
                <a:gd name="T109" fmla="*/ 2147483647 h 321"/>
                <a:gd name="T110" fmla="*/ 2147483647 w 1268"/>
                <a:gd name="T111" fmla="*/ 2147483647 h 321"/>
                <a:gd name="T112" fmla="*/ 2147483647 w 1268"/>
                <a:gd name="T113" fmla="*/ 2147483647 h 321"/>
                <a:gd name="T114" fmla="*/ 2147483647 w 1268"/>
                <a:gd name="T115" fmla="*/ 2147483647 h 321"/>
                <a:gd name="T116" fmla="*/ 2147483647 w 1268"/>
                <a:gd name="T117" fmla="*/ 2147483647 h 321"/>
                <a:gd name="T118" fmla="*/ 2147483647 w 1268"/>
                <a:gd name="T119" fmla="*/ 2147483647 h 321"/>
                <a:gd name="T120" fmla="*/ 2147483647 w 1268"/>
                <a:gd name="T121" fmla="*/ 2147483647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09" name="Freeform 418"/>
            <p:cNvSpPr>
              <a:spLocks/>
            </p:cNvSpPr>
            <p:nvPr/>
          </p:nvSpPr>
          <p:spPr bwMode="auto">
            <a:xfrm>
              <a:off x="1239838" y="2603500"/>
              <a:ext cx="68262" cy="60325"/>
            </a:xfrm>
            <a:custGeom>
              <a:avLst/>
              <a:gdLst>
                <a:gd name="T0" fmla="*/ 0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2147483647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2147483647 h 117"/>
                <a:gd name="T66" fmla="*/ 2147483647 w 160"/>
                <a:gd name="T67" fmla="*/ 2147483647 h 117"/>
                <a:gd name="T68" fmla="*/ 2147483647 w 160"/>
                <a:gd name="T69" fmla="*/ 2147483647 h 117"/>
                <a:gd name="T70" fmla="*/ 2147483647 w 160"/>
                <a:gd name="T71" fmla="*/ 2147483647 h 117"/>
                <a:gd name="T72" fmla="*/ 2147483647 w 160"/>
                <a:gd name="T73" fmla="*/ 2147483647 h 117"/>
                <a:gd name="T74" fmla="*/ 2147483647 w 160"/>
                <a:gd name="T75" fmla="*/ 2147483647 h 117"/>
                <a:gd name="T76" fmla="*/ 2147483647 w 160"/>
                <a:gd name="T77" fmla="*/ 2147483647 h 117"/>
                <a:gd name="T78" fmla="*/ 2147483647 w 160"/>
                <a:gd name="T79" fmla="*/ 2147483647 h 117"/>
                <a:gd name="T80" fmla="*/ 2147483647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0" name="Freeform 419"/>
            <p:cNvSpPr>
              <a:spLocks/>
            </p:cNvSpPr>
            <p:nvPr/>
          </p:nvSpPr>
          <p:spPr bwMode="auto">
            <a:xfrm>
              <a:off x="1204913" y="2493963"/>
              <a:ext cx="34925" cy="74612"/>
            </a:xfrm>
            <a:custGeom>
              <a:avLst/>
              <a:gdLst>
                <a:gd name="T0" fmla="*/ 2147483647 w 80"/>
                <a:gd name="T1" fmla="*/ 2147483647 h 141"/>
                <a:gd name="T2" fmla="*/ 2147483647 w 80"/>
                <a:gd name="T3" fmla="*/ 2147483647 h 141"/>
                <a:gd name="T4" fmla="*/ 2147483647 w 80"/>
                <a:gd name="T5" fmla="*/ 2147483647 h 141"/>
                <a:gd name="T6" fmla="*/ 2147483647 w 80"/>
                <a:gd name="T7" fmla="*/ 2147483647 h 141"/>
                <a:gd name="T8" fmla="*/ 2147483647 w 80"/>
                <a:gd name="T9" fmla="*/ 2147483647 h 141"/>
                <a:gd name="T10" fmla="*/ 2147483647 w 80"/>
                <a:gd name="T11" fmla="*/ 2147483647 h 141"/>
                <a:gd name="T12" fmla="*/ 2147483647 w 80"/>
                <a:gd name="T13" fmla="*/ 2147483647 h 141"/>
                <a:gd name="T14" fmla="*/ 2147483647 w 80"/>
                <a:gd name="T15" fmla="*/ 2147483647 h 141"/>
                <a:gd name="T16" fmla="*/ 2147483647 w 80"/>
                <a:gd name="T17" fmla="*/ 2147483647 h 141"/>
                <a:gd name="T18" fmla="*/ 2147483647 w 80"/>
                <a:gd name="T19" fmla="*/ 2147483647 h 141"/>
                <a:gd name="T20" fmla="*/ 2147483647 w 80"/>
                <a:gd name="T21" fmla="*/ 0 h 141"/>
                <a:gd name="T22" fmla="*/ 0 w 80"/>
                <a:gd name="T23" fmla="*/ 0 h 141"/>
                <a:gd name="T24" fmla="*/ 0 w 80"/>
                <a:gd name="T25" fmla="*/ 2147483647 h 141"/>
                <a:gd name="T26" fmla="*/ 0 w 80"/>
                <a:gd name="T27" fmla="*/ 2147483647 h 141"/>
                <a:gd name="T28" fmla="*/ 0 w 80"/>
                <a:gd name="T29" fmla="*/ 2147483647 h 141"/>
                <a:gd name="T30" fmla="*/ 0 w 80"/>
                <a:gd name="T31" fmla="*/ 2147483647 h 141"/>
                <a:gd name="T32" fmla="*/ 2147483647 w 80"/>
                <a:gd name="T33" fmla="*/ 2147483647 h 141"/>
                <a:gd name="T34" fmla="*/ 2147483647 w 80"/>
                <a:gd name="T35" fmla="*/ 2147483647 h 141"/>
                <a:gd name="T36" fmla="*/ 2147483647 w 80"/>
                <a:gd name="T37" fmla="*/ 2147483647 h 141"/>
                <a:gd name="T38" fmla="*/ 2147483647 w 80"/>
                <a:gd name="T39" fmla="*/ 2147483647 h 141"/>
                <a:gd name="T40" fmla="*/ 2147483647 w 80"/>
                <a:gd name="T41" fmla="*/ 2147483647 h 141"/>
                <a:gd name="T42" fmla="*/ 2147483647 w 80"/>
                <a:gd name="T43" fmla="*/ 2147483647 h 141"/>
                <a:gd name="T44" fmla="*/ 2147483647 w 80"/>
                <a:gd name="T45" fmla="*/ 2147483647 h 141"/>
                <a:gd name="T46" fmla="*/ 2147483647 w 80"/>
                <a:gd name="T47" fmla="*/ 2147483647 h 141"/>
                <a:gd name="T48" fmla="*/ 2147483647 w 80"/>
                <a:gd name="T49" fmla="*/ 2147483647 h 141"/>
                <a:gd name="T50" fmla="*/ 2147483647 w 80"/>
                <a:gd name="T51" fmla="*/ 2147483647 h 141"/>
                <a:gd name="T52" fmla="*/ 2147483647 w 80"/>
                <a:gd name="T53" fmla="*/ 2147483647 h 141"/>
                <a:gd name="T54" fmla="*/ 2147483647 w 80"/>
                <a:gd name="T55" fmla="*/ 2147483647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1" name="Freeform 420"/>
            <p:cNvSpPr>
              <a:spLocks/>
            </p:cNvSpPr>
            <p:nvPr/>
          </p:nvSpPr>
          <p:spPr bwMode="auto">
            <a:xfrm>
              <a:off x="2351088" y="2160588"/>
              <a:ext cx="111125" cy="65087"/>
            </a:xfrm>
            <a:custGeom>
              <a:avLst/>
              <a:gdLst>
                <a:gd name="T0" fmla="*/ 0 w 259"/>
                <a:gd name="T1" fmla="*/ 2147483647 h 124"/>
                <a:gd name="T2" fmla="*/ 0 w 259"/>
                <a:gd name="T3" fmla="*/ 2147483647 h 124"/>
                <a:gd name="T4" fmla="*/ 2147483647 w 259"/>
                <a:gd name="T5" fmla="*/ 2147483647 h 124"/>
                <a:gd name="T6" fmla="*/ 2147483647 w 259"/>
                <a:gd name="T7" fmla="*/ 2147483647 h 124"/>
                <a:gd name="T8" fmla="*/ 2147483647 w 259"/>
                <a:gd name="T9" fmla="*/ 2147483647 h 124"/>
                <a:gd name="T10" fmla="*/ 2147483647 w 259"/>
                <a:gd name="T11" fmla="*/ 2147483647 h 124"/>
                <a:gd name="T12" fmla="*/ 2147483647 w 259"/>
                <a:gd name="T13" fmla="*/ 2147483647 h 124"/>
                <a:gd name="T14" fmla="*/ 2147483647 w 259"/>
                <a:gd name="T15" fmla="*/ 2147483647 h 124"/>
                <a:gd name="T16" fmla="*/ 2147483647 w 259"/>
                <a:gd name="T17" fmla="*/ 2147483647 h 124"/>
                <a:gd name="T18" fmla="*/ 2147483647 w 259"/>
                <a:gd name="T19" fmla="*/ 2147483647 h 124"/>
                <a:gd name="T20" fmla="*/ 2147483647 w 259"/>
                <a:gd name="T21" fmla="*/ 2147483647 h 124"/>
                <a:gd name="T22" fmla="*/ 2147483647 w 259"/>
                <a:gd name="T23" fmla="*/ 2147483647 h 124"/>
                <a:gd name="T24" fmla="*/ 2147483647 w 259"/>
                <a:gd name="T25" fmla="*/ 2147483647 h 124"/>
                <a:gd name="T26" fmla="*/ 2147483647 w 259"/>
                <a:gd name="T27" fmla="*/ 2147483647 h 124"/>
                <a:gd name="T28" fmla="*/ 2147483647 w 259"/>
                <a:gd name="T29" fmla="*/ 2147483647 h 124"/>
                <a:gd name="T30" fmla="*/ 2147483647 w 259"/>
                <a:gd name="T31" fmla="*/ 2147483647 h 124"/>
                <a:gd name="T32" fmla="*/ 2147483647 w 259"/>
                <a:gd name="T33" fmla="*/ 2147483647 h 124"/>
                <a:gd name="T34" fmla="*/ 2147483647 w 259"/>
                <a:gd name="T35" fmla="*/ 2147483647 h 124"/>
                <a:gd name="T36" fmla="*/ 2147483647 w 259"/>
                <a:gd name="T37" fmla="*/ 2147483647 h 124"/>
                <a:gd name="T38" fmla="*/ 2147483647 w 259"/>
                <a:gd name="T39" fmla="*/ 2147483647 h 124"/>
                <a:gd name="T40" fmla="*/ 2147483647 w 259"/>
                <a:gd name="T41" fmla="*/ 2147483647 h 124"/>
                <a:gd name="T42" fmla="*/ 2147483647 w 259"/>
                <a:gd name="T43" fmla="*/ 2147483647 h 124"/>
                <a:gd name="T44" fmla="*/ 2147483647 w 259"/>
                <a:gd name="T45" fmla="*/ 2147483647 h 124"/>
                <a:gd name="T46" fmla="*/ 2147483647 w 259"/>
                <a:gd name="T47" fmla="*/ 2147483647 h 124"/>
                <a:gd name="T48" fmla="*/ 2147483647 w 259"/>
                <a:gd name="T49" fmla="*/ 2147483647 h 124"/>
                <a:gd name="T50" fmla="*/ 2147483647 w 259"/>
                <a:gd name="T51" fmla="*/ 2147483647 h 124"/>
                <a:gd name="T52" fmla="*/ 2147483647 w 259"/>
                <a:gd name="T53" fmla="*/ 2147483647 h 124"/>
                <a:gd name="T54" fmla="*/ 2147483647 w 259"/>
                <a:gd name="T55" fmla="*/ 2147483647 h 124"/>
                <a:gd name="T56" fmla="*/ 2147483647 w 259"/>
                <a:gd name="T57" fmla="*/ 2147483647 h 124"/>
                <a:gd name="T58" fmla="*/ 2147483647 w 259"/>
                <a:gd name="T59" fmla="*/ 2147483647 h 124"/>
                <a:gd name="T60" fmla="*/ 2147483647 w 259"/>
                <a:gd name="T61" fmla="*/ 2147483647 h 124"/>
                <a:gd name="T62" fmla="*/ 2147483647 w 259"/>
                <a:gd name="T63" fmla="*/ 2147483647 h 124"/>
                <a:gd name="T64" fmla="*/ 2147483647 w 259"/>
                <a:gd name="T65" fmla="*/ 2147483647 h 124"/>
                <a:gd name="T66" fmla="*/ 2147483647 w 259"/>
                <a:gd name="T67" fmla="*/ 2147483647 h 124"/>
                <a:gd name="T68" fmla="*/ 2147483647 w 259"/>
                <a:gd name="T69" fmla="*/ 2147483647 h 124"/>
                <a:gd name="T70" fmla="*/ 2147483647 w 259"/>
                <a:gd name="T71" fmla="*/ 2147483647 h 124"/>
                <a:gd name="T72" fmla="*/ 2147483647 w 259"/>
                <a:gd name="T73" fmla="*/ 2147483647 h 124"/>
                <a:gd name="T74" fmla="*/ 2147483647 w 259"/>
                <a:gd name="T75" fmla="*/ 2147483647 h 124"/>
                <a:gd name="T76" fmla="*/ 2147483647 w 259"/>
                <a:gd name="T77" fmla="*/ 2147483647 h 124"/>
                <a:gd name="T78" fmla="*/ 2147483647 w 259"/>
                <a:gd name="T79" fmla="*/ 2147483647 h 124"/>
                <a:gd name="T80" fmla="*/ 2147483647 w 259"/>
                <a:gd name="T81" fmla="*/ 2147483647 h 124"/>
                <a:gd name="T82" fmla="*/ 2147483647 w 259"/>
                <a:gd name="T83" fmla="*/ 2147483647 h 124"/>
                <a:gd name="T84" fmla="*/ 2147483647 w 259"/>
                <a:gd name="T85" fmla="*/ 2147483647 h 124"/>
                <a:gd name="T86" fmla="*/ 2147483647 w 259"/>
                <a:gd name="T87" fmla="*/ 2147483647 h 124"/>
                <a:gd name="T88" fmla="*/ 2147483647 w 259"/>
                <a:gd name="T89" fmla="*/ 2147483647 h 124"/>
                <a:gd name="T90" fmla="*/ 2147483647 w 259"/>
                <a:gd name="T91" fmla="*/ 2147483647 h 124"/>
                <a:gd name="T92" fmla="*/ 2147483647 w 259"/>
                <a:gd name="T93" fmla="*/ 2147483647 h 124"/>
                <a:gd name="T94" fmla="*/ 2147483647 w 259"/>
                <a:gd name="T95" fmla="*/ 2147483647 h 124"/>
                <a:gd name="T96" fmla="*/ 2147483647 w 259"/>
                <a:gd name="T97" fmla="*/ 2147483647 h 124"/>
                <a:gd name="T98" fmla="*/ 2147483647 w 259"/>
                <a:gd name="T99" fmla="*/ 2147483647 h 124"/>
                <a:gd name="T100" fmla="*/ 2147483647 w 259"/>
                <a:gd name="T101" fmla="*/ 0 h 124"/>
                <a:gd name="T102" fmla="*/ 2147483647 w 259"/>
                <a:gd name="T103" fmla="*/ 2147483647 h 124"/>
                <a:gd name="T104" fmla="*/ 2147483647 w 259"/>
                <a:gd name="T105" fmla="*/ 2147483647 h 124"/>
                <a:gd name="T106" fmla="*/ 2147483647 w 259"/>
                <a:gd name="T107" fmla="*/ 2147483647 h 124"/>
                <a:gd name="T108" fmla="*/ 2147483647 w 259"/>
                <a:gd name="T109" fmla="*/ 2147483647 h 124"/>
                <a:gd name="T110" fmla="*/ 2147483647 w 259"/>
                <a:gd name="T111" fmla="*/ 2147483647 h 124"/>
                <a:gd name="T112" fmla="*/ 2147483647 w 259"/>
                <a:gd name="T113" fmla="*/ 2147483647 h 124"/>
                <a:gd name="T114" fmla="*/ 2147483647 w 259"/>
                <a:gd name="T115" fmla="*/ 2147483647 h 124"/>
                <a:gd name="T116" fmla="*/ 2147483647 w 259"/>
                <a:gd name="T117" fmla="*/ 2147483647 h 124"/>
                <a:gd name="T118" fmla="*/ 2147483647 w 259"/>
                <a:gd name="T119" fmla="*/ 2147483647 h 124"/>
                <a:gd name="T120" fmla="*/ 0 w 259"/>
                <a:gd name="T121" fmla="*/ 2147483647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2" name="Freeform 421"/>
            <p:cNvSpPr>
              <a:spLocks/>
            </p:cNvSpPr>
            <p:nvPr/>
          </p:nvSpPr>
          <p:spPr bwMode="auto">
            <a:xfrm>
              <a:off x="2525713" y="2170113"/>
              <a:ext cx="50800" cy="30162"/>
            </a:xfrm>
            <a:custGeom>
              <a:avLst/>
              <a:gdLst>
                <a:gd name="T0" fmla="*/ 0 w 119"/>
                <a:gd name="T1" fmla="*/ 2147483647 h 57"/>
                <a:gd name="T2" fmla="*/ 2147483647 w 119"/>
                <a:gd name="T3" fmla="*/ 2147483647 h 57"/>
                <a:gd name="T4" fmla="*/ 2147483647 w 119"/>
                <a:gd name="T5" fmla="*/ 2147483647 h 57"/>
                <a:gd name="T6" fmla="*/ 2147483647 w 119"/>
                <a:gd name="T7" fmla="*/ 2147483647 h 57"/>
                <a:gd name="T8" fmla="*/ 2147483647 w 119"/>
                <a:gd name="T9" fmla="*/ 2147483647 h 57"/>
                <a:gd name="T10" fmla="*/ 2147483647 w 119"/>
                <a:gd name="T11" fmla="*/ 2147483647 h 57"/>
                <a:gd name="T12" fmla="*/ 2147483647 w 119"/>
                <a:gd name="T13" fmla="*/ 2147483647 h 57"/>
                <a:gd name="T14" fmla="*/ 2147483647 w 119"/>
                <a:gd name="T15" fmla="*/ 2147483647 h 57"/>
                <a:gd name="T16" fmla="*/ 2147483647 w 119"/>
                <a:gd name="T17" fmla="*/ 2147483647 h 57"/>
                <a:gd name="T18" fmla="*/ 2147483647 w 119"/>
                <a:gd name="T19" fmla="*/ 2147483647 h 57"/>
                <a:gd name="T20" fmla="*/ 2147483647 w 119"/>
                <a:gd name="T21" fmla="*/ 2147483647 h 57"/>
                <a:gd name="T22" fmla="*/ 2147483647 w 119"/>
                <a:gd name="T23" fmla="*/ 2147483647 h 57"/>
                <a:gd name="T24" fmla="*/ 2147483647 w 119"/>
                <a:gd name="T25" fmla="*/ 2147483647 h 57"/>
                <a:gd name="T26" fmla="*/ 2147483647 w 119"/>
                <a:gd name="T27" fmla="*/ 2147483647 h 57"/>
                <a:gd name="T28" fmla="*/ 2147483647 w 119"/>
                <a:gd name="T29" fmla="*/ 2147483647 h 57"/>
                <a:gd name="T30" fmla="*/ 2147483647 w 119"/>
                <a:gd name="T31" fmla="*/ 2147483647 h 57"/>
                <a:gd name="T32" fmla="*/ 2147483647 w 119"/>
                <a:gd name="T33" fmla="*/ 2147483647 h 57"/>
                <a:gd name="T34" fmla="*/ 2147483647 w 119"/>
                <a:gd name="T35" fmla="*/ 2147483647 h 57"/>
                <a:gd name="T36" fmla="*/ 2147483647 w 119"/>
                <a:gd name="T37" fmla="*/ 2147483647 h 57"/>
                <a:gd name="T38" fmla="*/ 2147483647 w 119"/>
                <a:gd name="T39" fmla="*/ 2147483647 h 57"/>
                <a:gd name="T40" fmla="*/ 2147483647 w 119"/>
                <a:gd name="T41" fmla="*/ 2147483647 h 57"/>
                <a:gd name="T42" fmla="*/ 2147483647 w 119"/>
                <a:gd name="T43" fmla="*/ 0 h 57"/>
                <a:gd name="T44" fmla="*/ 2147483647 w 119"/>
                <a:gd name="T45" fmla="*/ 0 h 57"/>
                <a:gd name="T46" fmla="*/ 2147483647 w 119"/>
                <a:gd name="T47" fmla="*/ 2147483647 h 57"/>
                <a:gd name="T48" fmla="*/ 2147483647 w 119"/>
                <a:gd name="T49" fmla="*/ 2147483647 h 57"/>
                <a:gd name="T50" fmla="*/ 2147483647 w 119"/>
                <a:gd name="T51" fmla="*/ 2147483647 h 57"/>
                <a:gd name="T52" fmla="*/ 2147483647 w 119"/>
                <a:gd name="T53" fmla="*/ 2147483647 h 57"/>
                <a:gd name="T54" fmla="*/ 2147483647 w 119"/>
                <a:gd name="T55" fmla="*/ 2147483647 h 57"/>
                <a:gd name="T56" fmla="*/ 2147483647 w 119"/>
                <a:gd name="T57" fmla="*/ 2147483647 h 57"/>
                <a:gd name="T58" fmla="*/ 2147483647 w 119"/>
                <a:gd name="T59" fmla="*/ 2147483647 h 57"/>
                <a:gd name="T60" fmla="*/ 2147483647 w 119"/>
                <a:gd name="T61" fmla="*/ 2147483647 h 57"/>
                <a:gd name="T62" fmla="*/ 2147483647 w 119"/>
                <a:gd name="T63" fmla="*/ 2147483647 h 57"/>
                <a:gd name="T64" fmla="*/ 0 w 119"/>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3" name="Freeform 422"/>
            <p:cNvSpPr>
              <a:spLocks/>
            </p:cNvSpPr>
            <p:nvPr/>
          </p:nvSpPr>
          <p:spPr bwMode="auto">
            <a:xfrm>
              <a:off x="2586038" y="2084388"/>
              <a:ext cx="46037" cy="26987"/>
            </a:xfrm>
            <a:custGeom>
              <a:avLst/>
              <a:gdLst>
                <a:gd name="T0" fmla="*/ 0 w 107"/>
                <a:gd name="T1" fmla="*/ 2147483647 h 52"/>
                <a:gd name="T2" fmla="*/ 2147483647 w 107"/>
                <a:gd name="T3" fmla="*/ 2147483647 h 52"/>
                <a:gd name="T4" fmla="*/ 2147483647 w 107"/>
                <a:gd name="T5" fmla="*/ 2147483647 h 52"/>
                <a:gd name="T6" fmla="*/ 2147483647 w 107"/>
                <a:gd name="T7" fmla="*/ 2147483647 h 52"/>
                <a:gd name="T8" fmla="*/ 2147483647 w 107"/>
                <a:gd name="T9" fmla="*/ 2147483647 h 52"/>
                <a:gd name="T10" fmla="*/ 2147483647 w 107"/>
                <a:gd name="T11" fmla="*/ 2147483647 h 52"/>
                <a:gd name="T12" fmla="*/ 2147483647 w 107"/>
                <a:gd name="T13" fmla="*/ 2147483647 h 52"/>
                <a:gd name="T14" fmla="*/ 2147483647 w 107"/>
                <a:gd name="T15" fmla="*/ 2147483647 h 52"/>
                <a:gd name="T16" fmla="*/ 2147483647 w 107"/>
                <a:gd name="T17" fmla="*/ 2147483647 h 52"/>
                <a:gd name="T18" fmla="*/ 2147483647 w 107"/>
                <a:gd name="T19" fmla="*/ 2147483647 h 52"/>
                <a:gd name="T20" fmla="*/ 2147483647 w 107"/>
                <a:gd name="T21" fmla="*/ 2147483647 h 52"/>
                <a:gd name="T22" fmla="*/ 2147483647 w 107"/>
                <a:gd name="T23" fmla="*/ 2147483647 h 52"/>
                <a:gd name="T24" fmla="*/ 2147483647 w 107"/>
                <a:gd name="T25" fmla="*/ 2147483647 h 52"/>
                <a:gd name="T26" fmla="*/ 2147483647 w 107"/>
                <a:gd name="T27" fmla="*/ 2147483647 h 52"/>
                <a:gd name="T28" fmla="*/ 2147483647 w 107"/>
                <a:gd name="T29" fmla="*/ 2147483647 h 52"/>
                <a:gd name="T30" fmla="*/ 2147483647 w 107"/>
                <a:gd name="T31" fmla="*/ 0 h 52"/>
                <a:gd name="T32" fmla="*/ 2147483647 w 107"/>
                <a:gd name="T33" fmla="*/ 2147483647 h 52"/>
                <a:gd name="T34" fmla="*/ 2147483647 w 107"/>
                <a:gd name="T35" fmla="*/ 2147483647 h 52"/>
                <a:gd name="T36" fmla="*/ 2147483647 w 107"/>
                <a:gd name="T37" fmla="*/ 2147483647 h 52"/>
                <a:gd name="T38" fmla="*/ 2147483647 w 107"/>
                <a:gd name="T39" fmla="*/ 2147483647 h 52"/>
                <a:gd name="T40" fmla="*/ 2147483647 w 107"/>
                <a:gd name="T41" fmla="*/ 2147483647 h 52"/>
                <a:gd name="T42" fmla="*/ 2147483647 w 107"/>
                <a:gd name="T43" fmla="*/ 2147483647 h 52"/>
                <a:gd name="T44" fmla="*/ 2147483647 w 107"/>
                <a:gd name="T45" fmla="*/ 2147483647 h 52"/>
                <a:gd name="T46" fmla="*/ 2147483647 w 107"/>
                <a:gd name="T47" fmla="*/ 2147483647 h 52"/>
                <a:gd name="T48" fmla="*/ 2147483647 w 107"/>
                <a:gd name="T49" fmla="*/ 2147483647 h 52"/>
                <a:gd name="T50" fmla="*/ 0 w 107"/>
                <a:gd name="T51" fmla="*/ 2147483647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4" name="Freeform 423"/>
            <p:cNvSpPr>
              <a:spLocks/>
            </p:cNvSpPr>
            <p:nvPr/>
          </p:nvSpPr>
          <p:spPr bwMode="auto">
            <a:xfrm>
              <a:off x="2354263" y="1938338"/>
              <a:ext cx="106362" cy="50800"/>
            </a:xfrm>
            <a:custGeom>
              <a:avLst/>
              <a:gdLst>
                <a:gd name="T0" fmla="*/ 2147483647 w 246"/>
                <a:gd name="T1" fmla="*/ 2147483647 h 99"/>
                <a:gd name="T2" fmla="*/ 2147483647 w 246"/>
                <a:gd name="T3" fmla="*/ 2147483647 h 99"/>
                <a:gd name="T4" fmla="*/ 2147483647 w 246"/>
                <a:gd name="T5" fmla="*/ 2147483647 h 99"/>
                <a:gd name="T6" fmla="*/ 2147483647 w 246"/>
                <a:gd name="T7" fmla="*/ 2147483647 h 99"/>
                <a:gd name="T8" fmla="*/ 2147483647 w 246"/>
                <a:gd name="T9" fmla="*/ 2147483647 h 99"/>
                <a:gd name="T10" fmla="*/ 2147483647 w 246"/>
                <a:gd name="T11" fmla="*/ 2147483647 h 99"/>
                <a:gd name="T12" fmla="*/ 2147483647 w 246"/>
                <a:gd name="T13" fmla="*/ 2147483647 h 99"/>
                <a:gd name="T14" fmla="*/ 2147483647 w 246"/>
                <a:gd name="T15" fmla="*/ 2147483647 h 99"/>
                <a:gd name="T16" fmla="*/ 0 w 246"/>
                <a:gd name="T17" fmla="*/ 2147483647 h 99"/>
                <a:gd name="T18" fmla="*/ 0 w 246"/>
                <a:gd name="T19" fmla="*/ 2147483647 h 99"/>
                <a:gd name="T20" fmla="*/ 2147483647 w 246"/>
                <a:gd name="T21" fmla="*/ 2147483647 h 99"/>
                <a:gd name="T22" fmla="*/ 2147483647 w 246"/>
                <a:gd name="T23" fmla="*/ 2147483647 h 99"/>
                <a:gd name="T24" fmla="*/ 2147483647 w 246"/>
                <a:gd name="T25" fmla="*/ 2147483647 h 99"/>
                <a:gd name="T26" fmla="*/ 2147483647 w 246"/>
                <a:gd name="T27" fmla="*/ 2147483647 h 99"/>
                <a:gd name="T28" fmla="*/ 2147483647 w 246"/>
                <a:gd name="T29" fmla="*/ 2147483647 h 99"/>
                <a:gd name="T30" fmla="*/ 2147483647 w 246"/>
                <a:gd name="T31" fmla="*/ 2147483647 h 99"/>
                <a:gd name="T32" fmla="*/ 2147483647 w 246"/>
                <a:gd name="T33" fmla="*/ 2147483647 h 99"/>
                <a:gd name="T34" fmla="*/ 2147483647 w 246"/>
                <a:gd name="T35" fmla="*/ 2147483647 h 99"/>
                <a:gd name="T36" fmla="*/ 2147483647 w 246"/>
                <a:gd name="T37" fmla="*/ 2147483647 h 99"/>
                <a:gd name="T38" fmla="*/ 2147483647 w 246"/>
                <a:gd name="T39" fmla="*/ 2147483647 h 99"/>
                <a:gd name="T40" fmla="*/ 2147483647 w 246"/>
                <a:gd name="T41" fmla="*/ 2147483647 h 99"/>
                <a:gd name="T42" fmla="*/ 2147483647 w 246"/>
                <a:gd name="T43" fmla="*/ 2147483647 h 99"/>
                <a:gd name="T44" fmla="*/ 2147483647 w 246"/>
                <a:gd name="T45" fmla="*/ 2147483647 h 99"/>
                <a:gd name="T46" fmla="*/ 2147483647 w 246"/>
                <a:gd name="T47" fmla="*/ 2147483647 h 99"/>
                <a:gd name="T48" fmla="*/ 2147483647 w 246"/>
                <a:gd name="T49" fmla="*/ 0 h 99"/>
                <a:gd name="T50" fmla="*/ 2147483647 w 246"/>
                <a:gd name="T51" fmla="*/ 0 h 99"/>
                <a:gd name="T52" fmla="*/ 2147483647 w 246"/>
                <a:gd name="T53" fmla="*/ 2147483647 h 99"/>
                <a:gd name="T54" fmla="*/ 2147483647 w 246"/>
                <a:gd name="T55" fmla="*/ 2147483647 h 99"/>
                <a:gd name="T56" fmla="*/ 2147483647 w 246"/>
                <a:gd name="T57" fmla="*/ 2147483647 h 99"/>
                <a:gd name="T58" fmla="*/ 2147483647 w 246"/>
                <a:gd name="T59" fmla="*/ 2147483647 h 99"/>
                <a:gd name="T60" fmla="*/ 2147483647 w 246"/>
                <a:gd name="T61" fmla="*/ 2147483647 h 99"/>
                <a:gd name="T62" fmla="*/ 2147483647 w 246"/>
                <a:gd name="T63" fmla="*/ 2147483647 h 99"/>
                <a:gd name="T64" fmla="*/ 2147483647 w 246"/>
                <a:gd name="T65" fmla="*/ 2147483647 h 99"/>
                <a:gd name="T66" fmla="*/ 2147483647 w 246"/>
                <a:gd name="T67" fmla="*/ 2147483647 h 99"/>
                <a:gd name="T68" fmla="*/ 2147483647 w 246"/>
                <a:gd name="T69" fmla="*/ 2147483647 h 99"/>
                <a:gd name="T70" fmla="*/ 2147483647 w 246"/>
                <a:gd name="T71" fmla="*/ 2147483647 h 99"/>
                <a:gd name="T72" fmla="*/ 2147483647 w 246"/>
                <a:gd name="T73" fmla="*/ 2147483647 h 99"/>
                <a:gd name="T74" fmla="*/ 2147483647 w 246"/>
                <a:gd name="T75" fmla="*/ 2147483647 h 99"/>
                <a:gd name="T76" fmla="*/ 2147483647 w 246"/>
                <a:gd name="T77" fmla="*/ 2147483647 h 99"/>
                <a:gd name="T78" fmla="*/ 2147483647 w 246"/>
                <a:gd name="T79" fmla="*/ 2147483647 h 99"/>
                <a:gd name="T80" fmla="*/ 2147483647 w 246"/>
                <a:gd name="T81" fmla="*/ 2147483647 h 99"/>
                <a:gd name="T82" fmla="*/ 2147483647 w 246"/>
                <a:gd name="T83" fmla="*/ 2147483647 h 99"/>
                <a:gd name="T84" fmla="*/ 2147483647 w 246"/>
                <a:gd name="T85" fmla="*/ 2147483647 h 99"/>
                <a:gd name="T86" fmla="*/ 2147483647 w 246"/>
                <a:gd name="T87" fmla="*/ 2147483647 h 99"/>
                <a:gd name="T88" fmla="*/ 2147483647 w 246"/>
                <a:gd name="T89" fmla="*/ 2147483647 h 99"/>
                <a:gd name="T90" fmla="*/ 2147483647 w 246"/>
                <a:gd name="T91" fmla="*/ 2147483647 h 99"/>
                <a:gd name="T92" fmla="*/ 2147483647 w 246"/>
                <a:gd name="T93" fmla="*/ 2147483647 h 99"/>
                <a:gd name="T94" fmla="*/ 2147483647 w 246"/>
                <a:gd name="T95" fmla="*/ 2147483647 h 99"/>
                <a:gd name="T96" fmla="*/ 2147483647 w 246"/>
                <a:gd name="T97" fmla="*/ 2147483647 h 99"/>
                <a:gd name="T98" fmla="*/ 2147483647 w 246"/>
                <a:gd name="T99" fmla="*/ 2147483647 h 99"/>
                <a:gd name="T100" fmla="*/ 2147483647 w 246"/>
                <a:gd name="T101" fmla="*/ 2147483647 h 99"/>
                <a:gd name="T102" fmla="*/ 2147483647 w 246"/>
                <a:gd name="T103" fmla="*/ 2147483647 h 99"/>
                <a:gd name="T104" fmla="*/ 2147483647 w 246"/>
                <a:gd name="T105" fmla="*/ 2147483647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5" name="Freeform 424"/>
            <p:cNvSpPr>
              <a:spLocks/>
            </p:cNvSpPr>
            <p:nvPr/>
          </p:nvSpPr>
          <p:spPr bwMode="auto">
            <a:xfrm>
              <a:off x="2236788" y="1944688"/>
              <a:ext cx="101600" cy="63500"/>
            </a:xfrm>
            <a:custGeom>
              <a:avLst/>
              <a:gdLst>
                <a:gd name="T0" fmla="*/ 2147483647 w 233"/>
                <a:gd name="T1" fmla="*/ 2147483647 h 123"/>
                <a:gd name="T2" fmla="*/ 2147483647 w 233"/>
                <a:gd name="T3" fmla="*/ 2147483647 h 123"/>
                <a:gd name="T4" fmla="*/ 0 w 233"/>
                <a:gd name="T5" fmla="*/ 2147483647 h 123"/>
                <a:gd name="T6" fmla="*/ 2147483647 w 233"/>
                <a:gd name="T7" fmla="*/ 2147483647 h 123"/>
                <a:gd name="T8" fmla="*/ 2147483647 w 233"/>
                <a:gd name="T9" fmla="*/ 2147483647 h 123"/>
                <a:gd name="T10" fmla="*/ 2147483647 w 233"/>
                <a:gd name="T11" fmla="*/ 2147483647 h 123"/>
                <a:gd name="T12" fmla="*/ 2147483647 w 233"/>
                <a:gd name="T13" fmla="*/ 2147483647 h 123"/>
                <a:gd name="T14" fmla="*/ 2147483647 w 233"/>
                <a:gd name="T15" fmla="*/ 2147483647 h 123"/>
                <a:gd name="T16" fmla="*/ 2147483647 w 233"/>
                <a:gd name="T17" fmla="*/ 2147483647 h 123"/>
                <a:gd name="T18" fmla="*/ 2147483647 w 233"/>
                <a:gd name="T19" fmla="*/ 2147483647 h 123"/>
                <a:gd name="T20" fmla="*/ 2147483647 w 233"/>
                <a:gd name="T21" fmla="*/ 0 h 123"/>
                <a:gd name="T22" fmla="*/ 2147483647 w 233"/>
                <a:gd name="T23" fmla="*/ 2147483647 h 123"/>
                <a:gd name="T24" fmla="*/ 2147483647 w 233"/>
                <a:gd name="T25" fmla="*/ 2147483647 h 123"/>
                <a:gd name="T26" fmla="*/ 2147483647 w 233"/>
                <a:gd name="T27" fmla="*/ 2147483647 h 123"/>
                <a:gd name="T28" fmla="*/ 2147483647 w 233"/>
                <a:gd name="T29" fmla="*/ 2147483647 h 123"/>
                <a:gd name="T30" fmla="*/ 2147483647 w 233"/>
                <a:gd name="T31" fmla="*/ 0 h 123"/>
                <a:gd name="T32" fmla="*/ 2147483647 w 233"/>
                <a:gd name="T33" fmla="*/ 2147483647 h 123"/>
                <a:gd name="T34" fmla="*/ 2147483647 w 233"/>
                <a:gd name="T35" fmla="*/ 2147483647 h 123"/>
                <a:gd name="T36" fmla="*/ 2147483647 w 233"/>
                <a:gd name="T37" fmla="*/ 2147483647 h 123"/>
                <a:gd name="T38" fmla="*/ 2147483647 w 233"/>
                <a:gd name="T39" fmla="*/ 2147483647 h 123"/>
                <a:gd name="T40" fmla="*/ 2147483647 w 233"/>
                <a:gd name="T41" fmla="*/ 2147483647 h 123"/>
                <a:gd name="T42" fmla="*/ 2147483647 w 233"/>
                <a:gd name="T43" fmla="*/ 2147483647 h 123"/>
                <a:gd name="T44" fmla="*/ 2147483647 w 233"/>
                <a:gd name="T45" fmla="*/ 2147483647 h 123"/>
                <a:gd name="T46" fmla="*/ 2147483647 w 233"/>
                <a:gd name="T47" fmla="*/ 2147483647 h 123"/>
                <a:gd name="T48" fmla="*/ 2147483647 w 233"/>
                <a:gd name="T49" fmla="*/ 2147483647 h 123"/>
                <a:gd name="T50" fmla="*/ 2147483647 w 233"/>
                <a:gd name="T51" fmla="*/ 2147483647 h 123"/>
                <a:gd name="T52" fmla="*/ 2147483647 w 233"/>
                <a:gd name="T53" fmla="*/ 2147483647 h 123"/>
                <a:gd name="T54" fmla="*/ 2147483647 w 233"/>
                <a:gd name="T55" fmla="*/ 2147483647 h 123"/>
                <a:gd name="T56" fmla="*/ 2147483647 w 233"/>
                <a:gd name="T57" fmla="*/ 2147483647 h 123"/>
                <a:gd name="T58" fmla="*/ 2147483647 w 233"/>
                <a:gd name="T59" fmla="*/ 2147483647 h 123"/>
                <a:gd name="T60" fmla="*/ 2147483647 w 233"/>
                <a:gd name="T61" fmla="*/ 2147483647 h 123"/>
                <a:gd name="T62" fmla="*/ 2147483647 w 233"/>
                <a:gd name="T63" fmla="*/ 2147483647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6" name="Freeform 425"/>
            <p:cNvSpPr>
              <a:spLocks/>
            </p:cNvSpPr>
            <p:nvPr/>
          </p:nvSpPr>
          <p:spPr bwMode="auto">
            <a:xfrm>
              <a:off x="1817688" y="1925638"/>
              <a:ext cx="212725" cy="88900"/>
            </a:xfrm>
            <a:custGeom>
              <a:avLst/>
              <a:gdLst>
                <a:gd name="T0" fmla="*/ 0 w 484"/>
                <a:gd name="T1" fmla="*/ 2147483647 h 172"/>
                <a:gd name="T2" fmla="*/ 2147483647 w 484"/>
                <a:gd name="T3" fmla="*/ 2147483647 h 172"/>
                <a:gd name="T4" fmla="*/ 2147483647 w 484"/>
                <a:gd name="T5" fmla="*/ 2147483647 h 172"/>
                <a:gd name="T6" fmla="*/ 2147483647 w 484"/>
                <a:gd name="T7" fmla="*/ 2147483647 h 172"/>
                <a:gd name="T8" fmla="*/ 2147483647 w 484"/>
                <a:gd name="T9" fmla="*/ 2147483647 h 172"/>
                <a:gd name="T10" fmla="*/ 2147483647 w 484"/>
                <a:gd name="T11" fmla="*/ 2147483647 h 172"/>
                <a:gd name="T12" fmla="*/ 2147483647 w 484"/>
                <a:gd name="T13" fmla="*/ 2147483647 h 172"/>
                <a:gd name="T14" fmla="*/ 2147483647 w 484"/>
                <a:gd name="T15" fmla="*/ 2147483647 h 172"/>
                <a:gd name="T16" fmla="*/ 2147483647 w 484"/>
                <a:gd name="T17" fmla="*/ 2147483647 h 172"/>
                <a:gd name="T18" fmla="*/ 2147483647 w 484"/>
                <a:gd name="T19" fmla="*/ 2147483647 h 172"/>
                <a:gd name="T20" fmla="*/ 2147483647 w 484"/>
                <a:gd name="T21" fmla="*/ 2147483647 h 172"/>
                <a:gd name="T22" fmla="*/ 2147483647 w 484"/>
                <a:gd name="T23" fmla="*/ 2147483647 h 172"/>
                <a:gd name="T24" fmla="*/ 2147483647 w 484"/>
                <a:gd name="T25" fmla="*/ 2147483647 h 172"/>
                <a:gd name="T26" fmla="*/ 2147483647 w 484"/>
                <a:gd name="T27" fmla="*/ 2147483647 h 172"/>
                <a:gd name="T28" fmla="*/ 2147483647 w 484"/>
                <a:gd name="T29" fmla="*/ 2147483647 h 172"/>
                <a:gd name="T30" fmla="*/ 2147483647 w 484"/>
                <a:gd name="T31" fmla="*/ 2147483647 h 172"/>
                <a:gd name="T32" fmla="*/ 2147483647 w 484"/>
                <a:gd name="T33" fmla="*/ 2147483647 h 172"/>
                <a:gd name="T34" fmla="*/ 2147483647 w 484"/>
                <a:gd name="T35" fmla="*/ 2147483647 h 172"/>
                <a:gd name="T36" fmla="*/ 2147483647 w 484"/>
                <a:gd name="T37" fmla="*/ 2147483647 h 172"/>
                <a:gd name="T38" fmla="*/ 2147483647 w 484"/>
                <a:gd name="T39" fmla="*/ 2147483647 h 172"/>
                <a:gd name="T40" fmla="*/ 2147483647 w 484"/>
                <a:gd name="T41" fmla="*/ 2147483647 h 172"/>
                <a:gd name="T42" fmla="*/ 2147483647 w 484"/>
                <a:gd name="T43" fmla="*/ 0 h 172"/>
                <a:gd name="T44" fmla="*/ 2147483647 w 484"/>
                <a:gd name="T45" fmla="*/ 0 h 172"/>
                <a:gd name="T46" fmla="*/ 2147483647 w 484"/>
                <a:gd name="T47" fmla="*/ 2147483647 h 172"/>
                <a:gd name="T48" fmla="*/ 2147483647 w 484"/>
                <a:gd name="T49" fmla="*/ 2147483647 h 172"/>
                <a:gd name="T50" fmla="*/ 2147483647 w 484"/>
                <a:gd name="T51" fmla="*/ 2147483647 h 172"/>
                <a:gd name="T52" fmla="*/ 2147483647 w 484"/>
                <a:gd name="T53" fmla="*/ 2147483647 h 172"/>
                <a:gd name="T54" fmla="*/ 2147483647 w 484"/>
                <a:gd name="T55" fmla="*/ 2147483647 h 172"/>
                <a:gd name="T56" fmla="*/ 2147483647 w 484"/>
                <a:gd name="T57" fmla="*/ 2147483647 h 172"/>
                <a:gd name="T58" fmla="*/ 2147483647 w 484"/>
                <a:gd name="T59" fmla="*/ 2147483647 h 172"/>
                <a:gd name="T60" fmla="*/ 2147483647 w 484"/>
                <a:gd name="T61" fmla="*/ 2147483647 h 172"/>
                <a:gd name="T62" fmla="*/ 2147483647 w 484"/>
                <a:gd name="T63" fmla="*/ 2147483647 h 172"/>
                <a:gd name="T64" fmla="*/ 2147483647 w 484"/>
                <a:gd name="T65" fmla="*/ 2147483647 h 172"/>
                <a:gd name="T66" fmla="*/ 2147483647 w 484"/>
                <a:gd name="T67" fmla="*/ 2147483647 h 172"/>
                <a:gd name="T68" fmla="*/ 2147483647 w 484"/>
                <a:gd name="T69" fmla="*/ 2147483647 h 172"/>
                <a:gd name="T70" fmla="*/ 2147483647 w 484"/>
                <a:gd name="T71" fmla="*/ 2147483647 h 172"/>
                <a:gd name="T72" fmla="*/ 2147483647 w 484"/>
                <a:gd name="T73" fmla="*/ 2147483647 h 172"/>
                <a:gd name="T74" fmla="*/ 2147483647 w 484"/>
                <a:gd name="T75" fmla="*/ 2147483647 h 172"/>
                <a:gd name="T76" fmla="*/ 0 w 484"/>
                <a:gd name="T77" fmla="*/ 2147483647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7" name="Freeform 426"/>
            <p:cNvSpPr>
              <a:spLocks/>
            </p:cNvSpPr>
            <p:nvPr/>
          </p:nvSpPr>
          <p:spPr bwMode="auto">
            <a:xfrm>
              <a:off x="1898650" y="1955800"/>
              <a:ext cx="298450" cy="127000"/>
            </a:xfrm>
            <a:custGeom>
              <a:avLst/>
              <a:gdLst>
                <a:gd name="T0" fmla="*/ 2147483647 w 684"/>
                <a:gd name="T1" fmla="*/ 2147483647 h 240"/>
                <a:gd name="T2" fmla="*/ 2147483647 w 684"/>
                <a:gd name="T3" fmla="*/ 2147483647 h 240"/>
                <a:gd name="T4" fmla="*/ 2147483647 w 684"/>
                <a:gd name="T5" fmla="*/ 2147483647 h 240"/>
                <a:gd name="T6" fmla="*/ 2147483647 w 684"/>
                <a:gd name="T7" fmla="*/ 2147483647 h 240"/>
                <a:gd name="T8" fmla="*/ 2147483647 w 684"/>
                <a:gd name="T9" fmla="*/ 2147483647 h 240"/>
                <a:gd name="T10" fmla="*/ 2147483647 w 684"/>
                <a:gd name="T11" fmla="*/ 2147483647 h 240"/>
                <a:gd name="T12" fmla="*/ 2147483647 w 684"/>
                <a:gd name="T13" fmla="*/ 2147483647 h 240"/>
                <a:gd name="T14" fmla="*/ 2147483647 w 684"/>
                <a:gd name="T15" fmla="*/ 2147483647 h 240"/>
                <a:gd name="T16" fmla="*/ 2147483647 w 684"/>
                <a:gd name="T17" fmla="*/ 2147483647 h 240"/>
                <a:gd name="T18" fmla="*/ 2147483647 w 684"/>
                <a:gd name="T19" fmla="*/ 2147483647 h 240"/>
                <a:gd name="T20" fmla="*/ 2147483647 w 684"/>
                <a:gd name="T21" fmla="*/ 2147483647 h 240"/>
                <a:gd name="T22" fmla="*/ 2147483647 w 684"/>
                <a:gd name="T23" fmla="*/ 2147483647 h 240"/>
                <a:gd name="T24" fmla="*/ 2147483647 w 684"/>
                <a:gd name="T25" fmla="*/ 2147483647 h 240"/>
                <a:gd name="T26" fmla="*/ 2147483647 w 684"/>
                <a:gd name="T27" fmla="*/ 2147483647 h 240"/>
                <a:gd name="T28" fmla="*/ 2147483647 w 684"/>
                <a:gd name="T29" fmla="*/ 2147483647 h 240"/>
                <a:gd name="T30" fmla="*/ 2147483647 w 684"/>
                <a:gd name="T31" fmla="*/ 0 h 240"/>
                <a:gd name="T32" fmla="*/ 2147483647 w 684"/>
                <a:gd name="T33" fmla="*/ 2147483647 h 240"/>
                <a:gd name="T34" fmla="*/ 2147483647 w 684"/>
                <a:gd name="T35" fmla="*/ 0 h 240"/>
                <a:gd name="T36" fmla="*/ 2147483647 w 684"/>
                <a:gd name="T37" fmla="*/ 2147483647 h 240"/>
                <a:gd name="T38" fmla="*/ 2147483647 w 684"/>
                <a:gd name="T39" fmla="*/ 2147483647 h 240"/>
                <a:gd name="T40" fmla="*/ 2147483647 w 684"/>
                <a:gd name="T41" fmla="*/ 2147483647 h 240"/>
                <a:gd name="T42" fmla="*/ 2147483647 w 684"/>
                <a:gd name="T43" fmla="*/ 2147483647 h 240"/>
                <a:gd name="T44" fmla="*/ 2147483647 w 684"/>
                <a:gd name="T45" fmla="*/ 2147483647 h 240"/>
                <a:gd name="T46" fmla="*/ 2147483647 w 684"/>
                <a:gd name="T47" fmla="*/ 2147483647 h 240"/>
                <a:gd name="T48" fmla="*/ 2147483647 w 684"/>
                <a:gd name="T49" fmla="*/ 2147483647 h 240"/>
                <a:gd name="T50" fmla="*/ 2147483647 w 684"/>
                <a:gd name="T51" fmla="*/ 2147483647 h 240"/>
                <a:gd name="T52" fmla="*/ 2147483647 w 684"/>
                <a:gd name="T53" fmla="*/ 2147483647 h 240"/>
                <a:gd name="T54" fmla="*/ 2147483647 w 684"/>
                <a:gd name="T55" fmla="*/ 2147483647 h 240"/>
                <a:gd name="T56" fmla="*/ 2147483647 w 684"/>
                <a:gd name="T57" fmla="*/ 2147483647 h 240"/>
                <a:gd name="T58" fmla="*/ 2147483647 w 684"/>
                <a:gd name="T59" fmla="*/ 2147483647 h 240"/>
                <a:gd name="T60" fmla="*/ 2147483647 w 684"/>
                <a:gd name="T61" fmla="*/ 2147483647 h 240"/>
                <a:gd name="T62" fmla="*/ 2147483647 w 684"/>
                <a:gd name="T63" fmla="*/ 2147483647 h 240"/>
                <a:gd name="T64" fmla="*/ 2147483647 w 684"/>
                <a:gd name="T65" fmla="*/ 2147483647 h 240"/>
                <a:gd name="T66" fmla="*/ 2147483647 w 684"/>
                <a:gd name="T67" fmla="*/ 2147483647 h 240"/>
                <a:gd name="T68" fmla="*/ 2147483647 w 684"/>
                <a:gd name="T69" fmla="*/ 2147483647 h 240"/>
                <a:gd name="T70" fmla="*/ 2147483647 w 684"/>
                <a:gd name="T71" fmla="*/ 2147483647 h 240"/>
                <a:gd name="T72" fmla="*/ 2147483647 w 684"/>
                <a:gd name="T73" fmla="*/ 2147483647 h 240"/>
                <a:gd name="T74" fmla="*/ 2147483647 w 684"/>
                <a:gd name="T75" fmla="*/ 2147483647 h 240"/>
                <a:gd name="T76" fmla="*/ 2147483647 w 684"/>
                <a:gd name="T77" fmla="*/ 2147483647 h 240"/>
                <a:gd name="T78" fmla="*/ 2147483647 w 684"/>
                <a:gd name="T79" fmla="*/ 2147483647 h 240"/>
                <a:gd name="T80" fmla="*/ 2147483647 w 684"/>
                <a:gd name="T81" fmla="*/ 2147483647 h 240"/>
                <a:gd name="T82" fmla="*/ 0 w 684"/>
                <a:gd name="T83" fmla="*/ 2147483647 h 240"/>
                <a:gd name="T84" fmla="*/ 2147483647 w 684"/>
                <a:gd name="T85" fmla="*/ 2147483647 h 240"/>
                <a:gd name="T86" fmla="*/ 2147483647 w 684"/>
                <a:gd name="T87" fmla="*/ 2147483647 h 240"/>
                <a:gd name="T88" fmla="*/ 2147483647 w 684"/>
                <a:gd name="T89" fmla="*/ 2147483647 h 240"/>
                <a:gd name="T90" fmla="*/ 2147483647 w 684"/>
                <a:gd name="T91" fmla="*/ 2147483647 h 240"/>
                <a:gd name="T92" fmla="*/ 2147483647 w 684"/>
                <a:gd name="T93" fmla="*/ 2147483647 h 240"/>
                <a:gd name="T94" fmla="*/ 2147483647 w 684"/>
                <a:gd name="T95" fmla="*/ 2147483647 h 240"/>
                <a:gd name="T96" fmla="*/ 2147483647 w 684"/>
                <a:gd name="T97" fmla="*/ 2147483647 h 240"/>
                <a:gd name="T98" fmla="*/ 2147483647 w 684"/>
                <a:gd name="T99" fmla="*/ 2147483647 h 240"/>
                <a:gd name="T100" fmla="*/ 2147483647 w 684"/>
                <a:gd name="T101" fmla="*/ 2147483647 h 240"/>
                <a:gd name="T102" fmla="*/ 2147483647 w 684"/>
                <a:gd name="T103" fmla="*/ 2147483647 h 240"/>
                <a:gd name="T104" fmla="*/ 2147483647 w 684"/>
                <a:gd name="T105" fmla="*/ 2147483647 h 240"/>
                <a:gd name="T106" fmla="*/ 2147483647 w 684"/>
                <a:gd name="T107" fmla="*/ 2147483647 h 240"/>
                <a:gd name="T108" fmla="*/ 2147483647 w 684"/>
                <a:gd name="T109" fmla="*/ 2147483647 h 240"/>
                <a:gd name="T110" fmla="*/ 2147483647 w 684"/>
                <a:gd name="T111" fmla="*/ 2147483647 h 240"/>
                <a:gd name="T112" fmla="*/ 2147483647 w 684"/>
                <a:gd name="T113" fmla="*/ 2147483647 h 240"/>
                <a:gd name="T114" fmla="*/ 2147483647 w 684"/>
                <a:gd name="T115" fmla="*/ 2147483647 h 240"/>
                <a:gd name="T116" fmla="*/ 2147483647 w 684"/>
                <a:gd name="T117" fmla="*/ 2147483647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8" name="Freeform 427"/>
            <p:cNvSpPr>
              <a:spLocks/>
            </p:cNvSpPr>
            <p:nvPr/>
          </p:nvSpPr>
          <p:spPr bwMode="auto">
            <a:xfrm>
              <a:off x="2709863" y="2576513"/>
              <a:ext cx="144462" cy="147637"/>
            </a:xfrm>
            <a:custGeom>
              <a:avLst/>
              <a:gdLst>
                <a:gd name="T0" fmla="*/ 2147483647 w 332"/>
                <a:gd name="T1" fmla="*/ 2147483647 h 287"/>
                <a:gd name="T2" fmla="*/ 2147483647 w 332"/>
                <a:gd name="T3" fmla="*/ 2147483647 h 287"/>
                <a:gd name="T4" fmla="*/ 2147483647 w 332"/>
                <a:gd name="T5" fmla="*/ 2147483647 h 287"/>
                <a:gd name="T6" fmla="*/ 2147483647 w 332"/>
                <a:gd name="T7" fmla="*/ 2147483647 h 287"/>
                <a:gd name="T8" fmla="*/ 2147483647 w 332"/>
                <a:gd name="T9" fmla="*/ 2147483647 h 287"/>
                <a:gd name="T10" fmla="*/ 2147483647 w 332"/>
                <a:gd name="T11" fmla="*/ 2147483647 h 287"/>
                <a:gd name="T12" fmla="*/ 2147483647 w 332"/>
                <a:gd name="T13" fmla="*/ 2147483647 h 287"/>
                <a:gd name="T14" fmla="*/ 2147483647 w 332"/>
                <a:gd name="T15" fmla="*/ 2147483647 h 287"/>
                <a:gd name="T16" fmla="*/ 2147483647 w 332"/>
                <a:gd name="T17" fmla="*/ 2147483647 h 287"/>
                <a:gd name="T18" fmla="*/ 2147483647 w 332"/>
                <a:gd name="T19" fmla="*/ 2147483647 h 287"/>
                <a:gd name="T20" fmla="*/ 2147483647 w 332"/>
                <a:gd name="T21" fmla="*/ 2147483647 h 287"/>
                <a:gd name="T22" fmla="*/ 2147483647 w 332"/>
                <a:gd name="T23" fmla="*/ 2147483647 h 287"/>
                <a:gd name="T24" fmla="*/ 2147483647 w 332"/>
                <a:gd name="T25" fmla="*/ 2147483647 h 287"/>
                <a:gd name="T26" fmla="*/ 2147483647 w 332"/>
                <a:gd name="T27" fmla="*/ 2147483647 h 287"/>
                <a:gd name="T28" fmla="*/ 2147483647 w 332"/>
                <a:gd name="T29" fmla="*/ 2147483647 h 287"/>
                <a:gd name="T30" fmla="*/ 2147483647 w 332"/>
                <a:gd name="T31" fmla="*/ 2147483647 h 287"/>
                <a:gd name="T32" fmla="*/ 2147483647 w 332"/>
                <a:gd name="T33" fmla="*/ 2147483647 h 287"/>
                <a:gd name="T34" fmla="*/ 2147483647 w 332"/>
                <a:gd name="T35" fmla="*/ 2147483647 h 287"/>
                <a:gd name="T36" fmla="*/ 2147483647 w 332"/>
                <a:gd name="T37" fmla="*/ 2147483647 h 287"/>
                <a:gd name="T38" fmla="*/ 2147483647 w 332"/>
                <a:gd name="T39" fmla="*/ 2147483647 h 287"/>
                <a:gd name="T40" fmla="*/ 2147483647 w 332"/>
                <a:gd name="T41" fmla="*/ 2147483647 h 287"/>
                <a:gd name="T42" fmla="*/ 2147483647 w 332"/>
                <a:gd name="T43" fmla="*/ 2147483647 h 287"/>
                <a:gd name="T44" fmla="*/ 2147483647 w 332"/>
                <a:gd name="T45" fmla="*/ 2147483647 h 287"/>
                <a:gd name="T46" fmla="*/ 2147483647 w 332"/>
                <a:gd name="T47" fmla="*/ 2147483647 h 287"/>
                <a:gd name="T48" fmla="*/ 2147483647 w 332"/>
                <a:gd name="T49" fmla="*/ 2147483647 h 287"/>
                <a:gd name="T50" fmla="*/ 2147483647 w 332"/>
                <a:gd name="T51" fmla="*/ 2147483647 h 287"/>
                <a:gd name="T52" fmla="*/ 2147483647 w 332"/>
                <a:gd name="T53" fmla="*/ 2147483647 h 287"/>
                <a:gd name="T54" fmla="*/ 2147483647 w 332"/>
                <a:gd name="T55" fmla="*/ 2147483647 h 287"/>
                <a:gd name="T56" fmla="*/ 2147483647 w 332"/>
                <a:gd name="T57" fmla="*/ 2147483647 h 287"/>
                <a:gd name="T58" fmla="*/ 2147483647 w 332"/>
                <a:gd name="T59" fmla="*/ 2147483647 h 287"/>
                <a:gd name="T60" fmla="*/ 2147483647 w 332"/>
                <a:gd name="T61" fmla="*/ 2147483647 h 287"/>
                <a:gd name="T62" fmla="*/ 2147483647 w 332"/>
                <a:gd name="T63" fmla="*/ 2147483647 h 287"/>
                <a:gd name="T64" fmla="*/ 2147483647 w 332"/>
                <a:gd name="T65" fmla="*/ 2147483647 h 287"/>
                <a:gd name="T66" fmla="*/ 2147483647 w 332"/>
                <a:gd name="T67" fmla="*/ 2147483647 h 287"/>
                <a:gd name="T68" fmla="*/ 2147483647 w 332"/>
                <a:gd name="T69" fmla="*/ 2147483647 h 287"/>
                <a:gd name="T70" fmla="*/ 2147483647 w 332"/>
                <a:gd name="T71" fmla="*/ 2147483647 h 287"/>
                <a:gd name="T72" fmla="*/ 2147483647 w 332"/>
                <a:gd name="T73" fmla="*/ 2147483647 h 287"/>
                <a:gd name="T74" fmla="*/ 2147483647 w 332"/>
                <a:gd name="T75" fmla="*/ 2147483647 h 287"/>
                <a:gd name="T76" fmla="*/ 2147483647 w 332"/>
                <a:gd name="T77" fmla="*/ 2147483647 h 287"/>
                <a:gd name="T78" fmla="*/ 2147483647 w 332"/>
                <a:gd name="T79" fmla="*/ 2147483647 h 287"/>
                <a:gd name="T80" fmla="*/ 0 w 332"/>
                <a:gd name="T81" fmla="*/ 2147483647 h 287"/>
                <a:gd name="T82" fmla="*/ 2147483647 w 332"/>
                <a:gd name="T83" fmla="*/ 2147483647 h 287"/>
                <a:gd name="T84" fmla="*/ 2147483647 w 332"/>
                <a:gd name="T85" fmla="*/ 2147483647 h 287"/>
                <a:gd name="T86" fmla="*/ 2147483647 w 332"/>
                <a:gd name="T87" fmla="*/ 2147483647 h 287"/>
                <a:gd name="T88" fmla="*/ 2147483647 w 332"/>
                <a:gd name="T89" fmla="*/ 2147483647 h 287"/>
                <a:gd name="T90" fmla="*/ 2147483647 w 332"/>
                <a:gd name="T91" fmla="*/ 2147483647 h 287"/>
                <a:gd name="T92" fmla="*/ 2147483647 w 332"/>
                <a:gd name="T93" fmla="*/ 2147483647 h 287"/>
                <a:gd name="T94" fmla="*/ 2147483647 w 332"/>
                <a:gd name="T95" fmla="*/ 2147483647 h 287"/>
                <a:gd name="T96" fmla="*/ 2147483647 w 332"/>
                <a:gd name="T97" fmla="*/ 2147483647 h 287"/>
                <a:gd name="T98" fmla="*/ 2147483647 w 332"/>
                <a:gd name="T99" fmla="*/ 2147483647 h 287"/>
                <a:gd name="T100" fmla="*/ 2147483647 w 332"/>
                <a:gd name="T101" fmla="*/ 2147483647 h 287"/>
                <a:gd name="T102" fmla="*/ 2147483647 w 332"/>
                <a:gd name="T103" fmla="*/ 2147483647 h 287"/>
                <a:gd name="T104" fmla="*/ 2147483647 w 332"/>
                <a:gd name="T105" fmla="*/ 2147483647 h 287"/>
                <a:gd name="T106" fmla="*/ 2147483647 w 332"/>
                <a:gd name="T107" fmla="*/ 2147483647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19" name="Freeform 428"/>
            <p:cNvSpPr>
              <a:spLocks/>
            </p:cNvSpPr>
            <p:nvPr/>
          </p:nvSpPr>
          <p:spPr bwMode="auto">
            <a:xfrm>
              <a:off x="1978025" y="1852613"/>
              <a:ext cx="149225" cy="42862"/>
            </a:xfrm>
            <a:custGeom>
              <a:avLst/>
              <a:gdLst>
                <a:gd name="T0" fmla="*/ 2147483647 w 345"/>
                <a:gd name="T1" fmla="*/ 2147483647 h 86"/>
                <a:gd name="T2" fmla="*/ 2147483647 w 345"/>
                <a:gd name="T3" fmla="*/ 2147483647 h 86"/>
                <a:gd name="T4" fmla="*/ 2147483647 w 345"/>
                <a:gd name="T5" fmla="*/ 2147483647 h 86"/>
                <a:gd name="T6" fmla="*/ 2147483647 w 345"/>
                <a:gd name="T7" fmla="*/ 2147483647 h 86"/>
                <a:gd name="T8" fmla="*/ 2147483647 w 345"/>
                <a:gd name="T9" fmla="*/ 2147483647 h 86"/>
                <a:gd name="T10" fmla="*/ 2147483647 w 345"/>
                <a:gd name="T11" fmla="*/ 2147483647 h 86"/>
                <a:gd name="T12" fmla="*/ 2147483647 w 345"/>
                <a:gd name="T13" fmla="*/ 2147483647 h 86"/>
                <a:gd name="T14" fmla="*/ 2147483647 w 345"/>
                <a:gd name="T15" fmla="*/ 2147483647 h 86"/>
                <a:gd name="T16" fmla="*/ 2147483647 w 345"/>
                <a:gd name="T17" fmla="*/ 2147483647 h 86"/>
                <a:gd name="T18" fmla="*/ 2147483647 w 345"/>
                <a:gd name="T19" fmla="*/ 2147483647 h 86"/>
                <a:gd name="T20" fmla="*/ 2147483647 w 345"/>
                <a:gd name="T21" fmla="*/ 2147483647 h 86"/>
                <a:gd name="T22" fmla="*/ 2147483647 w 345"/>
                <a:gd name="T23" fmla="*/ 2147483647 h 86"/>
                <a:gd name="T24" fmla="*/ 2147483647 w 345"/>
                <a:gd name="T25" fmla="*/ 2147483647 h 86"/>
                <a:gd name="T26" fmla="*/ 2147483647 w 345"/>
                <a:gd name="T27" fmla="*/ 2147483647 h 86"/>
                <a:gd name="T28" fmla="*/ 2147483647 w 345"/>
                <a:gd name="T29" fmla="*/ 2147483647 h 86"/>
                <a:gd name="T30" fmla="*/ 2147483647 w 345"/>
                <a:gd name="T31" fmla="*/ 2147483647 h 86"/>
                <a:gd name="T32" fmla="*/ 2147483647 w 345"/>
                <a:gd name="T33" fmla="*/ 2147483647 h 86"/>
                <a:gd name="T34" fmla="*/ 2147483647 w 345"/>
                <a:gd name="T35" fmla="*/ 2147483647 h 86"/>
                <a:gd name="T36" fmla="*/ 2147483647 w 345"/>
                <a:gd name="T37" fmla="*/ 2147483647 h 86"/>
                <a:gd name="T38" fmla="*/ 2147483647 w 345"/>
                <a:gd name="T39" fmla="*/ 2147483647 h 86"/>
                <a:gd name="T40" fmla="*/ 2147483647 w 345"/>
                <a:gd name="T41" fmla="*/ 2147483647 h 86"/>
                <a:gd name="T42" fmla="*/ 2147483647 w 345"/>
                <a:gd name="T43" fmla="*/ 2147483647 h 86"/>
                <a:gd name="T44" fmla="*/ 2147483647 w 345"/>
                <a:gd name="T45" fmla="*/ 0 h 86"/>
                <a:gd name="T46" fmla="*/ 2147483647 w 345"/>
                <a:gd name="T47" fmla="*/ 2147483647 h 86"/>
                <a:gd name="T48" fmla="*/ 2147483647 w 345"/>
                <a:gd name="T49" fmla="*/ 2147483647 h 86"/>
                <a:gd name="T50" fmla="*/ 2147483647 w 345"/>
                <a:gd name="T51" fmla="*/ 2147483647 h 86"/>
                <a:gd name="T52" fmla="*/ 2147483647 w 345"/>
                <a:gd name="T53" fmla="*/ 2147483647 h 86"/>
                <a:gd name="T54" fmla="*/ 2147483647 w 345"/>
                <a:gd name="T55" fmla="*/ 2147483647 h 86"/>
                <a:gd name="T56" fmla="*/ 2147483647 w 345"/>
                <a:gd name="T57" fmla="*/ 2147483647 h 86"/>
                <a:gd name="T58" fmla="*/ 2147483647 w 345"/>
                <a:gd name="T59" fmla="*/ 2147483647 h 86"/>
                <a:gd name="T60" fmla="*/ 2147483647 w 345"/>
                <a:gd name="T61" fmla="*/ 2147483647 h 86"/>
                <a:gd name="T62" fmla="*/ 2147483647 w 345"/>
                <a:gd name="T63" fmla="*/ 2147483647 h 86"/>
                <a:gd name="T64" fmla="*/ 2147483647 w 345"/>
                <a:gd name="T65" fmla="*/ 2147483647 h 86"/>
                <a:gd name="T66" fmla="*/ 2147483647 w 345"/>
                <a:gd name="T67" fmla="*/ 2147483647 h 86"/>
                <a:gd name="T68" fmla="*/ 2147483647 w 345"/>
                <a:gd name="T69" fmla="*/ 2147483647 h 86"/>
                <a:gd name="T70" fmla="*/ 2147483647 w 345"/>
                <a:gd name="T71" fmla="*/ 2147483647 h 86"/>
                <a:gd name="T72" fmla="*/ 0 w 345"/>
                <a:gd name="T73" fmla="*/ 2147483647 h 86"/>
                <a:gd name="T74" fmla="*/ 2147483647 w 345"/>
                <a:gd name="T75" fmla="*/ 214748364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0" name="Freeform 429"/>
            <p:cNvSpPr>
              <a:spLocks/>
            </p:cNvSpPr>
            <p:nvPr/>
          </p:nvSpPr>
          <p:spPr bwMode="auto">
            <a:xfrm>
              <a:off x="2054225" y="1866900"/>
              <a:ext cx="200025" cy="68263"/>
            </a:xfrm>
            <a:custGeom>
              <a:avLst/>
              <a:gdLst>
                <a:gd name="T0" fmla="*/ 2147483647 w 464"/>
                <a:gd name="T1" fmla="*/ 2147483647 h 130"/>
                <a:gd name="T2" fmla="*/ 2147483647 w 464"/>
                <a:gd name="T3" fmla="*/ 2147483647 h 130"/>
                <a:gd name="T4" fmla="*/ 2147483647 w 464"/>
                <a:gd name="T5" fmla="*/ 2147483647 h 130"/>
                <a:gd name="T6" fmla="*/ 2147483647 w 464"/>
                <a:gd name="T7" fmla="*/ 2147483647 h 130"/>
                <a:gd name="T8" fmla="*/ 2147483647 w 464"/>
                <a:gd name="T9" fmla="*/ 2147483647 h 130"/>
                <a:gd name="T10" fmla="*/ 2147483647 w 464"/>
                <a:gd name="T11" fmla="*/ 2147483647 h 130"/>
                <a:gd name="T12" fmla="*/ 2147483647 w 464"/>
                <a:gd name="T13" fmla="*/ 2147483647 h 130"/>
                <a:gd name="T14" fmla="*/ 2147483647 w 464"/>
                <a:gd name="T15" fmla="*/ 2147483647 h 130"/>
                <a:gd name="T16" fmla="*/ 2147483647 w 464"/>
                <a:gd name="T17" fmla="*/ 2147483647 h 130"/>
                <a:gd name="T18" fmla="*/ 2147483647 w 464"/>
                <a:gd name="T19" fmla="*/ 2147483647 h 130"/>
                <a:gd name="T20" fmla="*/ 2147483647 w 464"/>
                <a:gd name="T21" fmla="*/ 2147483647 h 130"/>
                <a:gd name="T22" fmla="*/ 2147483647 w 464"/>
                <a:gd name="T23" fmla="*/ 2147483647 h 130"/>
                <a:gd name="T24" fmla="*/ 2147483647 w 464"/>
                <a:gd name="T25" fmla="*/ 2147483647 h 130"/>
                <a:gd name="T26" fmla="*/ 2147483647 w 464"/>
                <a:gd name="T27" fmla="*/ 2147483647 h 130"/>
                <a:gd name="T28" fmla="*/ 2147483647 w 464"/>
                <a:gd name="T29" fmla="*/ 2147483647 h 130"/>
                <a:gd name="T30" fmla="*/ 2147483647 w 464"/>
                <a:gd name="T31" fmla="*/ 2147483647 h 130"/>
                <a:gd name="T32" fmla="*/ 2147483647 w 464"/>
                <a:gd name="T33" fmla="*/ 2147483647 h 130"/>
                <a:gd name="T34" fmla="*/ 2147483647 w 464"/>
                <a:gd name="T35" fmla="*/ 2147483647 h 130"/>
                <a:gd name="T36" fmla="*/ 2147483647 w 464"/>
                <a:gd name="T37" fmla="*/ 2147483647 h 130"/>
                <a:gd name="T38" fmla="*/ 2147483647 w 464"/>
                <a:gd name="T39" fmla="*/ 2147483647 h 130"/>
                <a:gd name="T40" fmla="*/ 2147483647 w 464"/>
                <a:gd name="T41" fmla="*/ 2147483647 h 130"/>
                <a:gd name="T42" fmla="*/ 2147483647 w 464"/>
                <a:gd name="T43" fmla="*/ 2147483647 h 130"/>
                <a:gd name="T44" fmla="*/ 2147483647 w 464"/>
                <a:gd name="T45" fmla="*/ 2147483647 h 130"/>
                <a:gd name="T46" fmla="*/ 2147483647 w 464"/>
                <a:gd name="T47" fmla="*/ 2147483647 h 130"/>
                <a:gd name="T48" fmla="*/ 2147483647 w 464"/>
                <a:gd name="T49" fmla="*/ 2147483647 h 130"/>
                <a:gd name="T50" fmla="*/ 2147483647 w 464"/>
                <a:gd name="T51" fmla="*/ 2147483647 h 130"/>
                <a:gd name="T52" fmla="*/ 2147483647 w 464"/>
                <a:gd name="T53" fmla="*/ 2147483647 h 130"/>
                <a:gd name="T54" fmla="*/ 2147483647 w 464"/>
                <a:gd name="T55" fmla="*/ 2147483647 h 130"/>
                <a:gd name="T56" fmla="*/ 2147483647 w 464"/>
                <a:gd name="T57" fmla="*/ 0 h 130"/>
                <a:gd name="T58" fmla="*/ 2147483647 w 464"/>
                <a:gd name="T59" fmla="*/ 2147483647 h 130"/>
                <a:gd name="T60" fmla="*/ 2147483647 w 464"/>
                <a:gd name="T61" fmla="*/ 2147483647 h 130"/>
                <a:gd name="T62" fmla="*/ 2147483647 w 464"/>
                <a:gd name="T63" fmla="*/ 2147483647 h 130"/>
                <a:gd name="T64" fmla="*/ 2147483647 w 464"/>
                <a:gd name="T65" fmla="*/ 2147483647 h 130"/>
                <a:gd name="T66" fmla="*/ 2147483647 w 464"/>
                <a:gd name="T67" fmla="*/ 2147483647 h 130"/>
                <a:gd name="T68" fmla="*/ 2147483647 w 464"/>
                <a:gd name="T69" fmla="*/ 2147483647 h 130"/>
                <a:gd name="T70" fmla="*/ 2147483647 w 464"/>
                <a:gd name="T71" fmla="*/ 2147483647 h 130"/>
                <a:gd name="T72" fmla="*/ 2147483647 w 464"/>
                <a:gd name="T73" fmla="*/ 2147483647 h 130"/>
                <a:gd name="T74" fmla="*/ 2147483647 w 464"/>
                <a:gd name="T75" fmla="*/ 2147483647 h 130"/>
                <a:gd name="T76" fmla="*/ 2147483647 w 464"/>
                <a:gd name="T77" fmla="*/ 2147483647 h 130"/>
                <a:gd name="T78" fmla="*/ 2147483647 w 464"/>
                <a:gd name="T79" fmla="*/ 2147483647 h 130"/>
                <a:gd name="T80" fmla="*/ 2147483647 w 464"/>
                <a:gd name="T81" fmla="*/ 2147483647 h 130"/>
                <a:gd name="T82" fmla="*/ 2147483647 w 464"/>
                <a:gd name="T83" fmla="*/ 2147483647 h 130"/>
                <a:gd name="T84" fmla="*/ 2147483647 w 464"/>
                <a:gd name="T85" fmla="*/ 2147483647 h 130"/>
                <a:gd name="T86" fmla="*/ 2147483647 w 464"/>
                <a:gd name="T87" fmla="*/ 2147483647 h 130"/>
                <a:gd name="T88" fmla="*/ 2147483647 w 464"/>
                <a:gd name="T89" fmla="*/ 2147483647 h 130"/>
                <a:gd name="T90" fmla="*/ 0 w 464"/>
                <a:gd name="T91" fmla="*/ 2147483647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1" name="Freeform 430"/>
            <p:cNvSpPr>
              <a:spLocks/>
            </p:cNvSpPr>
            <p:nvPr/>
          </p:nvSpPr>
          <p:spPr bwMode="auto">
            <a:xfrm>
              <a:off x="2476500" y="1876425"/>
              <a:ext cx="206375" cy="49213"/>
            </a:xfrm>
            <a:custGeom>
              <a:avLst/>
              <a:gdLst>
                <a:gd name="T0" fmla="*/ 2147483647 w 472"/>
                <a:gd name="T1" fmla="*/ 0 h 92"/>
                <a:gd name="T2" fmla="*/ 2147483647 w 472"/>
                <a:gd name="T3" fmla="*/ 0 h 92"/>
                <a:gd name="T4" fmla="*/ 2147483647 w 472"/>
                <a:gd name="T5" fmla="*/ 0 h 92"/>
                <a:gd name="T6" fmla="*/ 2147483647 w 472"/>
                <a:gd name="T7" fmla="*/ 2147483647 h 92"/>
                <a:gd name="T8" fmla="*/ 2147483647 w 472"/>
                <a:gd name="T9" fmla="*/ 2147483647 h 92"/>
                <a:gd name="T10" fmla="*/ 2147483647 w 472"/>
                <a:gd name="T11" fmla="*/ 2147483647 h 92"/>
                <a:gd name="T12" fmla="*/ 2147483647 w 472"/>
                <a:gd name="T13" fmla="*/ 2147483647 h 92"/>
                <a:gd name="T14" fmla="*/ 2147483647 w 472"/>
                <a:gd name="T15" fmla="*/ 2147483647 h 92"/>
                <a:gd name="T16" fmla="*/ 2147483647 w 472"/>
                <a:gd name="T17" fmla="*/ 2147483647 h 92"/>
                <a:gd name="T18" fmla="*/ 2147483647 w 472"/>
                <a:gd name="T19" fmla="*/ 2147483647 h 92"/>
                <a:gd name="T20" fmla="*/ 2147483647 w 472"/>
                <a:gd name="T21" fmla="*/ 2147483647 h 92"/>
                <a:gd name="T22" fmla="*/ 2147483647 w 472"/>
                <a:gd name="T23" fmla="*/ 2147483647 h 92"/>
                <a:gd name="T24" fmla="*/ 2147483647 w 472"/>
                <a:gd name="T25" fmla="*/ 2147483647 h 92"/>
                <a:gd name="T26" fmla="*/ 2147483647 w 472"/>
                <a:gd name="T27" fmla="*/ 2147483647 h 92"/>
                <a:gd name="T28" fmla="*/ 2147483647 w 472"/>
                <a:gd name="T29" fmla="*/ 2147483647 h 92"/>
                <a:gd name="T30" fmla="*/ 2147483647 w 472"/>
                <a:gd name="T31" fmla="*/ 2147483647 h 92"/>
                <a:gd name="T32" fmla="*/ 2147483647 w 472"/>
                <a:gd name="T33" fmla="*/ 2147483647 h 92"/>
                <a:gd name="T34" fmla="*/ 2147483647 w 472"/>
                <a:gd name="T35" fmla="*/ 2147483647 h 92"/>
                <a:gd name="T36" fmla="*/ 2147483647 w 472"/>
                <a:gd name="T37" fmla="*/ 2147483647 h 92"/>
                <a:gd name="T38" fmla="*/ 2147483647 w 472"/>
                <a:gd name="T39" fmla="*/ 2147483647 h 92"/>
                <a:gd name="T40" fmla="*/ 2147483647 w 472"/>
                <a:gd name="T41" fmla="*/ 2147483647 h 92"/>
                <a:gd name="T42" fmla="*/ 2147483647 w 472"/>
                <a:gd name="T43" fmla="*/ 2147483647 h 92"/>
                <a:gd name="T44" fmla="*/ 2147483647 w 472"/>
                <a:gd name="T45" fmla="*/ 2147483647 h 92"/>
                <a:gd name="T46" fmla="*/ 2147483647 w 472"/>
                <a:gd name="T47" fmla="*/ 2147483647 h 92"/>
                <a:gd name="T48" fmla="*/ 2147483647 w 472"/>
                <a:gd name="T49" fmla="*/ 2147483647 h 92"/>
                <a:gd name="T50" fmla="*/ 2147483647 w 472"/>
                <a:gd name="T51" fmla="*/ 2147483647 h 92"/>
                <a:gd name="T52" fmla="*/ 2147483647 w 472"/>
                <a:gd name="T53" fmla="*/ 2147483647 h 92"/>
                <a:gd name="T54" fmla="*/ 2147483647 w 472"/>
                <a:gd name="T55" fmla="*/ 2147483647 h 92"/>
                <a:gd name="T56" fmla="*/ 2147483647 w 472"/>
                <a:gd name="T57" fmla="*/ 2147483647 h 92"/>
                <a:gd name="T58" fmla="*/ 2147483647 w 472"/>
                <a:gd name="T59" fmla="*/ 2147483647 h 92"/>
                <a:gd name="T60" fmla="*/ 2147483647 w 472"/>
                <a:gd name="T61" fmla="*/ 2147483647 h 92"/>
                <a:gd name="T62" fmla="*/ 2147483647 w 472"/>
                <a:gd name="T63" fmla="*/ 2147483647 h 92"/>
                <a:gd name="T64" fmla="*/ 2147483647 w 472"/>
                <a:gd name="T65" fmla="*/ 2147483647 h 92"/>
                <a:gd name="T66" fmla="*/ 2147483647 w 472"/>
                <a:gd name="T67" fmla="*/ 2147483647 h 92"/>
                <a:gd name="T68" fmla="*/ 2147483647 w 472"/>
                <a:gd name="T69" fmla="*/ 2147483647 h 92"/>
                <a:gd name="T70" fmla="*/ 2147483647 w 472"/>
                <a:gd name="T71" fmla="*/ 2147483647 h 92"/>
                <a:gd name="T72" fmla="*/ 2147483647 w 472"/>
                <a:gd name="T73" fmla="*/ 2147483647 h 92"/>
                <a:gd name="T74" fmla="*/ 2147483647 w 472"/>
                <a:gd name="T75" fmla="*/ 2147483647 h 92"/>
                <a:gd name="T76" fmla="*/ 2147483647 w 472"/>
                <a:gd name="T77" fmla="*/ 2147483647 h 92"/>
                <a:gd name="T78" fmla="*/ 2147483647 w 472"/>
                <a:gd name="T79" fmla="*/ 2147483647 h 92"/>
                <a:gd name="T80" fmla="*/ 2147483647 w 472"/>
                <a:gd name="T81" fmla="*/ 2147483647 h 92"/>
                <a:gd name="T82" fmla="*/ 2147483647 w 472"/>
                <a:gd name="T83" fmla="*/ 2147483647 h 92"/>
                <a:gd name="T84" fmla="*/ 2147483647 w 472"/>
                <a:gd name="T85" fmla="*/ 2147483647 h 92"/>
                <a:gd name="T86" fmla="*/ 2147483647 w 472"/>
                <a:gd name="T87" fmla="*/ 2147483647 h 92"/>
                <a:gd name="T88" fmla="*/ 2147483647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2" name="Freeform 431"/>
            <p:cNvSpPr>
              <a:spLocks/>
            </p:cNvSpPr>
            <p:nvPr/>
          </p:nvSpPr>
          <p:spPr bwMode="auto">
            <a:xfrm>
              <a:off x="2532063" y="1765300"/>
              <a:ext cx="141287" cy="73025"/>
            </a:xfrm>
            <a:custGeom>
              <a:avLst/>
              <a:gdLst>
                <a:gd name="T0" fmla="*/ 2147483647 w 326"/>
                <a:gd name="T1" fmla="*/ 2147483647 h 135"/>
                <a:gd name="T2" fmla="*/ 2147483647 w 326"/>
                <a:gd name="T3" fmla="*/ 2147483647 h 135"/>
                <a:gd name="T4" fmla="*/ 2147483647 w 326"/>
                <a:gd name="T5" fmla="*/ 2147483647 h 135"/>
                <a:gd name="T6" fmla="*/ 2147483647 w 326"/>
                <a:gd name="T7" fmla="*/ 2147483647 h 135"/>
                <a:gd name="T8" fmla="*/ 2147483647 w 326"/>
                <a:gd name="T9" fmla="*/ 2147483647 h 135"/>
                <a:gd name="T10" fmla="*/ 2147483647 w 326"/>
                <a:gd name="T11" fmla="*/ 2147483647 h 135"/>
                <a:gd name="T12" fmla="*/ 2147483647 w 326"/>
                <a:gd name="T13" fmla="*/ 2147483647 h 135"/>
                <a:gd name="T14" fmla="*/ 2147483647 w 326"/>
                <a:gd name="T15" fmla="*/ 2147483647 h 135"/>
                <a:gd name="T16" fmla="*/ 2147483647 w 326"/>
                <a:gd name="T17" fmla="*/ 2147483647 h 135"/>
                <a:gd name="T18" fmla="*/ 2147483647 w 326"/>
                <a:gd name="T19" fmla="*/ 2147483647 h 135"/>
                <a:gd name="T20" fmla="*/ 2147483647 w 326"/>
                <a:gd name="T21" fmla="*/ 2147483647 h 135"/>
                <a:gd name="T22" fmla="*/ 2147483647 w 326"/>
                <a:gd name="T23" fmla="*/ 2147483647 h 135"/>
                <a:gd name="T24" fmla="*/ 2147483647 w 326"/>
                <a:gd name="T25" fmla="*/ 2147483647 h 135"/>
                <a:gd name="T26" fmla="*/ 2147483647 w 326"/>
                <a:gd name="T27" fmla="*/ 2147483647 h 135"/>
                <a:gd name="T28" fmla="*/ 2147483647 w 326"/>
                <a:gd name="T29" fmla="*/ 2147483647 h 135"/>
                <a:gd name="T30" fmla="*/ 2147483647 w 326"/>
                <a:gd name="T31" fmla="*/ 2147483647 h 135"/>
                <a:gd name="T32" fmla="*/ 2147483647 w 326"/>
                <a:gd name="T33" fmla="*/ 2147483647 h 135"/>
                <a:gd name="T34" fmla="*/ 2147483647 w 326"/>
                <a:gd name="T35" fmla="*/ 2147483647 h 135"/>
                <a:gd name="T36" fmla="*/ 2147483647 w 326"/>
                <a:gd name="T37" fmla="*/ 2147483647 h 135"/>
                <a:gd name="T38" fmla="*/ 2147483647 w 326"/>
                <a:gd name="T39" fmla="*/ 2147483647 h 135"/>
                <a:gd name="T40" fmla="*/ 2147483647 w 326"/>
                <a:gd name="T41" fmla="*/ 2147483647 h 135"/>
                <a:gd name="T42" fmla="*/ 2147483647 w 326"/>
                <a:gd name="T43" fmla="*/ 2147483647 h 135"/>
                <a:gd name="T44" fmla="*/ 2147483647 w 326"/>
                <a:gd name="T45" fmla="*/ 2147483647 h 135"/>
                <a:gd name="T46" fmla="*/ 2147483647 w 326"/>
                <a:gd name="T47" fmla="*/ 2147483647 h 135"/>
                <a:gd name="T48" fmla="*/ 2147483647 w 326"/>
                <a:gd name="T49" fmla="*/ 2147483647 h 135"/>
                <a:gd name="T50" fmla="*/ 2147483647 w 326"/>
                <a:gd name="T51" fmla="*/ 2147483647 h 135"/>
                <a:gd name="T52" fmla="*/ 2147483647 w 326"/>
                <a:gd name="T53" fmla="*/ 2147483647 h 135"/>
                <a:gd name="T54" fmla="*/ 2147483647 w 326"/>
                <a:gd name="T55" fmla="*/ 2147483647 h 135"/>
                <a:gd name="T56" fmla="*/ 2147483647 w 326"/>
                <a:gd name="T57" fmla="*/ 2147483647 h 135"/>
                <a:gd name="T58" fmla="*/ 2147483647 w 326"/>
                <a:gd name="T59" fmla="*/ 2147483647 h 135"/>
                <a:gd name="T60" fmla="*/ 2147483647 w 326"/>
                <a:gd name="T61" fmla="*/ 2147483647 h 135"/>
                <a:gd name="T62" fmla="*/ 2147483647 w 326"/>
                <a:gd name="T63" fmla="*/ 2147483647 h 135"/>
                <a:gd name="T64" fmla="*/ 2147483647 w 326"/>
                <a:gd name="T65" fmla="*/ 2147483647 h 135"/>
                <a:gd name="T66" fmla="*/ 2147483647 w 326"/>
                <a:gd name="T67" fmla="*/ 2147483647 h 135"/>
                <a:gd name="T68" fmla="*/ 2147483647 w 326"/>
                <a:gd name="T69" fmla="*/ 2147483647 h 135"/>
                <a:gd name="T70" fmla="*/ 2147483647 w 326"/>
                <a:gd name="T71" fmla="*/ 214748364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3" name="Freeform 432"/>
            <p:cNvSpPr>
              <a:spLocks/>
            </p:cNvSpPr>
            <p:nvPr/>
          </p:nvSpPr>
          <p:spPr bwMode="auto">
            <a:xfrm>
              <a:off x="2627313" y="1939925"/>
              <a:ext cx="68262" cy="28575"/>
            </a:xfrm>
            <a:custGeom>
              <a:avLst/>
              <a:gdLst>
                <a:gd name="T0" fmla="*/ 2147483647 w 159"/>
                <a:gd name="T1" fmla="*/ 2147483647 h 56"/>
                <a:gd name="T2" fmla="*/ 2147483647 w 159"/>
                <a:gd name="T3" fmla="*/ 2147483647 h 56"/>
                <a:gd name="T4" fmla="*/ 2147483647 w 159"/>
                <a:gd name="T5" fmla="*/ 2147483647 h 56"/>
                <a:gd name="T6" fmla="*/ 2147483647 w 159"/>
                <a:gd name="T7" fmla="*/ 2147483647 h 56"/>
                <a:gd name="T8" fmla="*/ 2147483647 w 159"/>
                <a:gd name="T9" fmla="*/ 2147483647 h 56"/>
                <a:gd name="T10" fmla="*/ 2147483647 w 159"/>
                <a:gd name="T11" fmla="*/ 2147483647 h 56"/>
                <a:gd name="T12" fmla="*/ 2147483647 w 159"/>
                <a:gd name="T13" fmla="*/ 2147483647 h 56"/>
                <a:gd name="T14" fmla="*/ 2147483647 w 159"/>
                <a:gd name="T15" fmla="*/ 2147483647 h 56"/>
                <a:gd name="T16" fmla="*/ 2147483647 w 159"/>
                <a:gd name="T17" fmla="*/ 2147483647 h 56"/>
                <a:gd name="T18" fmla="*/ 0 w 159"/>
                <a:gd name="T19" fmla="*/ 2147483647 h 56"/>
                <a:gd name="T20" fmla="*/ 0 w 159"/>
                <a:gd name="T21" fmla="*/ 2147483647 h 56"/>
                <a:gd name="T22" fmla="*/ 2147483647 w 159"/>
                <a:gd name="T23" fmla="*/ 2147483647 h 56"/>
                <a:gd name="T24" fmla="*/ 2147483647 w 159"/>
                <a:gd name="T25" fmla="*/ 2147483647 h 56"/>
                <a:gd name="T26" fmla="*/ 2147483647 w 159"/>
                <a:gd name="T27" fmla="*/ 2147483647 h 56"/>
                <a:gd name="T28" fmla="*/ 2147483647 w 159"/>
                <a:gd name="T29" fmla="*/ 2147483647 h 56"/>
                <a:gd name="T30" fmla="*/ 2147483647 w 159"/>
                <a:gd name="T31" fmla="*/ 2147483647 h 56"/>
                <a:gd name="T32" fmla="*/ 2147483647 w 159"/>
                <a:gd name="T33" fmla="*/ 0 h 56"/>
                <a:gd name="T34" fmla="*/ 2147483647 w 159"/>
                <a:gd name="T35" fmla="*/ 0 h 56"/>
                <a:gd name="T36" fmla="*/ 2147483647 w 159"/>
                <a:gd name="T37" fmla="*/ 0 h 56"/>
                <a:gd name="T38" fmla="*/ 2147483647 w 159"/>
                <a:gd name="T39" fmla="*/ 0 h 56"/>
                <a:gd name="T40" fmla="*/ 2147483647 w 159"/>
                <a:gd name="T41" fmla="*/ 2147483647 h 56"/>
                <a:gd name="T42" fmla="*/ 2147483647 w 159"/>
                <a:gd name="T43" fmla="*/ 2147483647 h 56"/>
                <a:gd name="T44" fmla="*/ 2147483647 w 159"/>
                <a:gd name="T45" fmla="*/ 2147483647 h 56"/>
                <a:gd name="T46" fmla="*/ 2147483647 w 159"/>
                <a:gd name="T47" fmla="*/ 2147483647 h 56"/>
                <a:gd name="T48" fmla="*/ 2147483647 w 159"/>
                <a:gd name="T49" fmla="*/ 2147483647 h 56"/>
                <a:gd name="T50" fmla="*/ 2147483647 w 159"/>
                <a:gd name="T51" fmla="*/ 2147483647 h 56"/>
                <a:gd name="T52" fmla="*/ 2147483647 w 159"/>
                <a:gd name="T53" fmla="*/ 2147483647 h 56"/>
                <a:gd name="T54" fmla="*/ 2147483647 w 159"/>
                <a:gd name="T55" fmla="*/ 2147483647 h 56"/>
                <a:gd name="T56" fmla="*/ 2147483647 w 159"/>
                <a:gd name="T57" fmla="*/ 2147483647 h 56"/>
                <a:gd name="T58" fmla="*/ 2147483647 w 159"/>
                <a:gd name="T59" fmla="*/ 2147483647 h 56"/>
                <a:gd name="T60" fmla="*/ 2147483647 w 159"/>
                <a:gd name="T61" fmla="*/ 2147483647 h 56"/>
                <a:gd name="T62" fmla="*/ 2147483647 w 159"/>
                <a:gd name="T63" fmla="*/ 2147483647 h 56"/>
                <a:gd name="T64" fmla="*/ 2147483647 w 159"/>
                <a:gd name="T65" fmla="*/ 2147483647 h 56"/>
                <a:gd name="T66" fmla="*/ 2147483647 w 159"/>
                <a:gd name="T67" fmla="*/ 2147483647 h 56"/>
                <a:gd name="T68" fmla="*/ 2147483647 w 159"/>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4" name="Freeform 433"/>
            <p:cNvSpPr>
              <a:spLocks/>
            </p:cNvSpPr>
            <p:nvPr/>
          </p:nvSpPr>
          <p:spPr bwMode="auto">
            <a:xfrm>
              <a:off x="1214438" y="1995488"/>
              <a:ext cx="1620837" cy="862012"/>
            </a:xfrm>
            <a:custGeom>
              <a:avLst/>
              <a:gdLst>
                <a:gd name="T0" fmla="*/ 2147483647 w 3734"/>
                <a:gd name="T1" fmla="*/ 2147483647 h 1644"/>
                <a:gd name="T2" fmla="*/ 2147483647 w 3734"/>
                <a:gd name="T3" fmla="*/ 2147483647 h 1644"/>
                <a:gd name="T4" fmla="*/ 2147483647 w 3734"/>
                <a:gd name="T5" fmla="*/ 2147483647 h 1644"/>
                <a:gd name="T6" fmla="*/ 2147483647 w 3734"/>
                <a:gd name="T7" fmla="*/ 2147483647 h 1644"/>
                <a:gd name="T8" fmla="*/ 2147483647 w 3734"/>
                <a:gd name="T9" fmla="*/ 2147483647 h 1644"/>
                <a:gd name="T10" fmla="*/ 2147483647 w 3734"/>
                <a:gd name="T11" fmla="*/ 2147483647 h 1644"/>
                <a:gd name="T12" fmla="*/ 2147483647 w 3734"/>
                <a:gd name="T13" fmla="*/ 2147483647 h 1644"/>
                <a:gd name="T14" fmla="*/ 2147483647 w 3734"/>
                <a:gd name="T15" fmla="*/ 2147483647 h 1644"/>
                <a:gd name="T16" fmla="*/ 2147483647 w 3734"/>
                <a:gd name="T17" fmla="*/ 2147483647 h 1644"/>
                <a:gd name="T18" fmla="*/ 2147483647 w 3734"/>
                <a:gd name="T19" fmla="*/ 2147483647 h 1644"/>
                <a:gd name="T20" fmla="*/ 2147483647 w 3734"/>
                <a:gd name="T21" fmla="*/ 2147483647 h 1644"/>
                <a:gd name="T22" fmla="*/ 2147483647 w 3734"/>
                <a:gd name="T23" fmla="*/ 2147483647 h 1644"/>
                <a:gd name="T24" fmla="*/ 2147483647 w 3734"/>
                <a:gd name="T25" fmla="*/ 2147483647 h 1644"/>
                <a:gd name="T26" fmla="*/ 2147483647 w 3734"/>
                <a:gd name="T27" fmla="*/ 2147483647 h 1644"/>
                <a:gd name="T28" fmla="*/ 2147483647 w 3734"/>
                <a:gd name="T29" fmla="*/ 2147483647 h 1644"/>
                <a:gd name="T30" fmla="*/ 2147483647 w 3734"/>
                <a:gd name="T31" fmla="*/ 2147483647 h 1644"/>
                <a:gd name="T32" fmla="*/ 2147483647 w 3734"/>
                <a:gd name="T33" fmla="*/ 2147483647 h 1644"/>
                <a:gd name="T34" fmla="*/ 2147483647 w 3734"/>
                <a:gd name="T35" fmla="*/ 2147483647 h 1644"/>
                <a:gd name="T36" fmla="*/ 2147483647 w 3734"/>
                <a:gd name="T37" fmla="*/ 2147483647 h 1644"/>
                <a:gd name="T38" fmla="*/ 2147483647 w 3734"/>
                <a:gd name="T39" fmla="*/ 2147483647 h 1644"/>
                <a:gd name="T40" fmla="*/ 2147483647 w 3734"/>
                <a:gd name="T41" fmla="*/ 2147483647 h 1644"/>
                <a:gd name="T42" fmla="*/ 2147483647 w 3734"/>
                <a:gd name="T43" fmla="*/ 2147483647 h 1644"/>
                <a:gd name="T44" fmla="*/ 2147483647 w 3734"/>
                <a:gd name="T45" fmla="*/ 2147483647 h 1644"/>
                <a:gd name="T46" fmla="*/ 2147483647 w 3734"/>
                <a:gd name="T47" fmla="*/ 2147483647 h 1644"/>
                <a:gd name="T48" fmla="*/ 2147483647 w 3734"/>
                <a:gd name="T49" fmla="*/ 2147483647 h 1644"/>
                <a:gd name="T50" fmla="*/ 2147483647 w 3734"/>
                <a:gd name="T51" fmla="*/ 2147483647 h 1644"/>
                <a:gd name="T52" fmla="*/ 2147483647 w 3734"/>
                <a:gd name="T53" fmla="*/ 2147483647 h 1644"/>
                <a:gd name="T54" fmla="*/ 2147483647 w 3734"/>
                <a:gd name="T55" fmla="*/ 2147483647 h 1644"/>
                <a:gd name="T56" fmla="*/ 2147483647 w 3734"/>
                <a:gd name="T57" fmla="*/ 2147483647 h 1644"/>
                <a:gd name="T58" fmla="*/ 2147483647 w 3734"/>
                <a:gd name="T59" fmla="*/ 2147483647 h 1644"/>
                <a:gd name="T60" fmla="*/ 2147483647 w 3734"/>
                <a:gd name="T61" fmla="*/ 2147483647 h 1644"/>
                <a:gd name="T62" fmla="*/ 2147483647 w 3734"/>
                <a:gd name="T63" fmla="*/ 2147483647 h 1644"/>
                <a:gd name="T64" fmla="*/ 2147483647 w 3734"/>
                <a:gd name="T65" fmla="*/ 2147483647 h 1644"/>
                <a:gd name="T66" fmla="*/ 2147483647 w 3734"/>
                <a:gd name="T67" fmla="*/ 2147483647 h 1644"/>
                <a:gd name="T68" fmla="*/ 2147483647 w 3734"/>
                <a:gd name="T69" fmla="*/ 2147483647 h 1644"/>
                <a:gd name="T70" fmla="*/ 2147483647 w 3734"/>
                <a:gd name="T71" fmla="*/ 2147483647 h 1644"/>
                <a:gd name="T72" fmla="*/ 2147483647 w 3734"/>
                <a:gd name="T73" fmla="*/ 2147483647 h 1644"/>
                <a:gd name="T74" fmla="*/ 2147483647 w 3734"/>
                <a:gd name="T75" fmla="*/ 2147483647 h 1644"/>
                <a:gd name="T76" fmla="*/ 2147483647 w 3734"/>
                <a:gd name="T77" fmla="*/ 2147483647 h 1644"/>
                <a:gd name="T78" fmla="*/ 2147483647 w 3734"/>
                <a:gd name="T79" fmla="*/ 2147483647 h 1644"/>
                <a:gd name="T80" fmla="*/ 2147483647 w 3734"/>
                <a:gd name="T81" fmla="*/ 2147483647 h 1644"/>
                <a:gd name="T82" fmla="*/ 2147483647 w 3734"/>
                <a:gd name="T83" fmla="*/ 2147483647 h 1644"/>
                <a:gd name="T84" fmla="*/ 2147483647 w 3734"/>
                <a:gd name="T85" fmla="*/ 2147483647 h 1644"/>
                <a:gd name="T86" fmla="*/ 2147483647 w 3734"/>
                <a:gd name="T87" fmla="*/ 2147483647 h 1644"/>
                <a:gd name="T88" fmla="*/ 2147483647 w 3734"/>
                <a:gd name="T89" fmla="*/ 2147483647 h 1644"/>
                <a:gd name="T90" fmla="*/ 2147483647 w 3734"/>
                <a:gd name="T91" fmla="*/ 2147483647 h 1644"/>
                <a:gd name="T92" fmla="*/ 2147483647 w 3734"/>
                <a:gd name="T93" fmla="*/ 2147483647 h 1644"/>
                <a:gd name="T94" fmla="*/ 2147483647 w 3734"/>
                <a:gd name="T95" fmla="*/ 2147483647 h 1644"/>
                <a:gd name="T96" fmla="*/ 2147483647 w 3734"/>
                <a:gd name="T97" fmla="*/ 2147483647 h 1644"/>
                <a:gd name="T98" fmla="*/ 2147483647 w 3734"/>
                <a:gd name="T99" fmla="*/ 2147483647 h 1644"/>
                <a:gd name="T100" fmla="*/ 2147483647 w 3734"/>
                <a:gd name="T101" fmla="*/ 2147483647 h 1644"/>
                <a:gd name="T102" fmla="*/ 2147483647 w 3734"/>
                <a:gd name="T103" fmla="*/ 2147483647 h 1644"/>
                <a:gd name="T104" fmla="*/ 2147483647 w 3734"/>
                <a:gd name="T105" fmla="*/ 2147483647 h 1644"/>
                <a:gd name="T106" fmla="*/ 2147483647 w 3734"/>
                <a:gd name="T107" fmla="*/ 2147483647 h 1644"/>
                <a:gd name="T108" fmla="*/ 2147483647 w 3734"/>
                <a:gd name="T109" fmla="*/ 2147483647 h 1644"/>
                <a:gd name="T110" fmla="*/ 2147483647 w 3734"/>
                <a:gd name="T111" fmla="*/ 2147483647 h 1644"/>
                <a:gd name="T112" fmla="*/ 2147483647 w 3734"/>
                <a:gd name="T113" fmla="*/ 2147483647 h 1644"/>
                <a:gd name="T114" fmla="*/ 2147483647 w 3734"/>
                <a:gd name="T115" fmla="*/ 2147483647 h 1644"/>
                <a:gd name="T116" fmla="*/ 2147483647 w 3734"/>
                <a:gd name="T117" fmla="*/ 2147483647 h 1644"/>
                <a:gd name="T118" fmla="*/ 2147483647 w 3734"/>
                <a:gd name="T119" fmla="*/ 2147483647 h 1644"/>
                <a:gd name="T120" fmla="*/ 2147483647 w 3734"/>
                <a:gd name="T121" fmla="*/ 2147483647 h 1644"/>
                <a:gd name="T122" fmla="*/ 2147483647 w 3734"/>
                <a:gd name="T123" fmla="*/ 2147483647 h 1644"/>
                <a:gd name="T124" fmla="*/ 2147483647 w 3734"/>
                <a:gd name="T125" fmla="*/ 214748364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1" name="Freeform 434"/>
            <p:cNvSpPr>
              <a:spLocks/>
            </p:cNvSpPr>
            <p:nvPr>
              <p:custDataLst>
                <p:tags r:id="rId262"/>
              </p:custDataLst>
            </p:nvPr>
          </p:nvSpPr>
          <p:spPr bwMode="auto">
            <a:xfrm>
              <a:off x="4775200" y="4068763"/>
              <a:ext cx="127000" cy="158750"/>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26" name="Freeform 435"/>
            <p:cNvSpPr>
              <a:spLocks/>
            </p:cNvSpPr>
            <p:nvPr>
              <p:custDataLst>
                <p:tags r:id="rId263"/>
              </p:custDataLst>
            </p:nvPr>
          </p:nvSpPr>
          <p:spPr bwMode="auto">
            <a:xfrm>
              <a:off x="4881563" y="421957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47527" name="Freeform 436"/>
            <p:cNvSpPr>
              <a:spLocks/>
            </p:cNvSpPr>
            <p:nvPr>
              <p:custDataLst>
                <p:tags r:id="rId264"/>
              </p:custDataLst>
            </p:nvPr>
          </p:nvSpPr>
          <p:spPr bwMode="auto">
            <a:xfrm>
              <a:off x="4371975" y="3455988"/>
              <a:ext cx="249238"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47528" name="Freeform 437"/>
            <p:cNvSpPr>
              <a:spLocks/>
            </p:cNvSpPr>
            <p:nvPr>
              <p:custDataLst>
                <p:tags r:id="rId265"/>
              </p:custDataLst>
            </p:nvPr>
          </p:nvSpPr>
          <p:spPr bwMode="auto">
            <a:xfrm>
              <a:off x="4048125" y="283845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29" name="Freeform 439"/>
            <p:cNvSpPr>
              <a:spLocks/>
            </p:cNvSpPr>
            <p:nvPr/>
          </p:nvSpPr>
          <p:spPr bwMode="auto">
            <a:xfrm>
              <a:off x="2559050" y="5535613"/>
              <a:ext cx="19050" cy="26987"/>
            </a:xfrm>
            <a:custGeom>
              <a:avLst/>
              <a:gdLst>
                <a:gd name="T0" fmla="*/ 2147483647 w 46"/>
                <a:gd name="T1" fmla="*/ 2147483647 h 51"/>
                <a:gd name="T2" fmla="*/ 2147483647 w 46"/>
                <a:gd name="T3" fmla="*/ 0 h 51"/>
                <a:gd name="T4" fmla="*/ 2147483647 w 46"/>
                <a:gd name="T5" fmla="*/ 2147483647 h 51"/>
                <a:gd name="T6" fmla="*/ 2147483647 w 46"/>
                <a:gd name="T7" fmla="*/ 2147483647 h 51"/>
                <a:gd name="T8" fmla="*/ 2147483647 w 46"/>
                <a:gd name="T9" fmla="*/ 2147483647 h 51"/>
                <a:gd name="T10" fmla="*/ 2147483647 w 46"/>
                <a:gd name="T11" fmla="*/ 2147483647 h 51"/>
                <a:gd name="T12" fmla="*/ 0 w 46"/>
                <a:gd name="T13" fmla="*/ 2147483647 h 51"/>
                <a:gd name="T14" fmla="*/ 0 w 46"/>
                <a:gd name="T15" fmla="*/ 2147483647 h 51"/>
                <a:gd name="T16" fmla="*/ 0 w 46"/>
                <a:gd name="T17" fmla="*/ 2147483647 h 51"/>
                <a:gd name="T18" fmla="*/ 2147483647 w 46"/>
                <a:gd name="T19" fmla="*/ 2147483647 h 51"/>
                <a:gd name="T20" fmla="*/ 2147483647 w 46"/>
                <a:gd name="T21" fmla="*/ 2147483647 h 51"/>
                <a:gd name="T22" fmla="*/ 2147483647 w 46"/>
                <a:gd name="T23" fmla="*/ 2147483647 h 51"/>
                <a:gd name="T24" fmla="*/ 2147483647 w 46"/>
                <a:gd name="T25" fmla="*/ 2147483647 h 51"/>
                <a:gd name="T26" fmla="*/ 2147483647 w 46"/>
                <a:gd name="T27" fmla="*/ 2147483647 h 51"/>
                <a:gd name="T28" fmla="*/ 2147483647 w 46"/>
                <a:gd name="T29" fmla="*/ 2147483647 h 51"/>
                <a:gd name="T30" fmla="*/ 2147483647 w 46"/>
                <a:gd name="T31" fmla="*/ 2147483647 h 51"/>
                <a:gd name="T32" fmla="*/ 2147483647 w 46"/>
                <a:gd name="T33" fmla="*/ 2147483647 h 51"/>
                <a:gd name="T34" fmla="*/ 2147483647 w 46"/>
                <a:gd name="T35" fmla="*/ 2147483647 h 51"/>
                <a:gd name="T36" fmla="*/ 2147483647 w 46"/>
                <a:gd name="T37" fmla="*/ 2147483647 h 51"/>
                <a:gd name="T38" fmla="*/ 2147483647 w 46"/>
                <a:gd name="T39" fmla="*/ 2147483647 h 51"/>
                <a:gd name="T40" fmla="*/ 2147483647 w 46"/>
                <a:gd name="T41" fmla="*/ 2147483647 h 51"/>
                <a:gd name="T42" fmla="*/ 2147483647 w 46"/>
                <a:gd name="T43" fmla="*/ 2147483647 h 51"/>
                <a:gd name="T44" fmla="*/ 2147483647 w 46"/>
                <a:gd name="T45" fmla="*/ 2147483647 h 51"/>
                <a:gd name="T46" fmla="*/ 2147483647 w 46"/>
                <a:gd name="T47" fmla="*/ 2147483647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0" name="Freeform 440"/>
            <p:cNvSpPr>
              <a:spLocks/>
            </p:cNvSpPr>
            <p:nvPr/>
          </p:nvSpPr>
          <p:spPr bwMode="auto">
            <a:xfrm>
              <a:off x="2573338" y="5848350"/>
              <a:ext cx="82550" cy="82550"/>
            </a:xfrm>
            <a:custGeom>
              <a:avLst/>
              <a:gdLst>
                <a:gd name="T0" fmla="*/ 0 w 192"/>
                <a:gd name="T1" fmla="*/ 0 h 158"/>
                <a:gd name="T2" fmla="*/ 0 w 192"/>
                <a:gd name="T3" fmla="*/ 2147483647 h 158"/>
                <a:gd name="T4" fmla="*/ 2147483647 w 192"/>
                <a:gd name="T5" fmla="*/ 2147483647 h 158"/>
                <a:gd name="T6" fmla="*/ 2147483647 w 192"/>
                <a:gd name="T7" fmla="*/ 2147483647 h 158"/>
                <a:gd name="T8" fmla="*/ 2147483647 w 192"/>
                <a:gd name="T9" fmla="*/ 2147483647 h 158"/>
                <a:gd name="T10" fmla="*/ 2147483647 w 192"/>
                <a:gd name="T11" fmla="*/ 2147483647 h 158"/>
                <a:gd name="T12" fmla="*/ 2147483647 w 192"/>
                <a:gd name="T13" fmla="*/ 2147483647 h 158"/>
                <a:gd name="T14" fmla="*/ 2147483647 w 192"/>
                <a:gd name="T15" fmla="*/ 2147483647 h 158"/>
                <a:gd name="T16" fmla="*/ 2147483647 w 192"/>
                <a:gd name="T17" fmla="*/ 2147483647 h 158"/>
                <a:gd name="T18" fmla="*/ 2147483647 w 192"/>
                <a:gd name="T19" fmla="*/ 2147483647 h 158"/>
                <a:gd name="T20" fmla="*/ 2147483647 w 192"/>
                <a:gd name="T21" fmla="*/ 2147483647 h 158"/>
                <a:gd name="T22" fmla="*/ 2147483647 w 192"/>
                <a:gd name="T23" fmla="*/ 2147483647 h 158"/>
                <a:gd name="T24" fmla="*/ 2147483647 w 192"/>
                <a:gd name="T25" fmla="*/ 2147483647 h 158"/>
                <a:gd name="T26" fmla="*/ 2147483647 w 192"/>
                <a:gd name="T27" fmla="*/ 2147483647 h 158"/>
                <a:gd name="T28" fmla="*/ 2147483647 w 192"/>
                <a:gd name="T29" fmla="*/ 2147483647 h 158"/>
                <a:gd name="T30" fmla="*/ 2147483647 w 192"/>
                <a:gd name="T31" fmla="*/ 2147483647 h 158"/>
                <a:gd name="T32" fmla="*/ 2147483647 w 192"/>
                <a:gd name="T33" fmla="*/ 2147483647 h 158"/>
                <a:gd name="T34" fmla="*/ 2147483647 w 192"/>
                <a:gd name="T35" fmla="*/ 2147483647 h 158"/>
                <a:gd name="T36" fmla="*/ 2147483647 w 192"/>
                <a:gd name="T37" fmla="*/ 2147483647 h 158"/>
                <a:gd name="T38" fmla="*/ 2147483647 w 192"/>
                <a:gd name="T39" fmla="*/ 2147483647 h 158"/>
                <a:gd name="T40" fmla="*/ 2147483647 w 192"/>
                <a:gd name="T41" fmla="*/ 2147483647 h 158"/>
                <a:gd name="T42" fmla="*/ 2147483647 w 192"/>
                <a:gd name="T43" fmla="*/ 2147483647 h 158"/>
                <a:gd name="T44" fmla="*/ 2147483647 w 192"/>
                <a:gd name="T45" fmla="*/ 2147483647 h 158"/>
                <a:gd name="T46" fmla="*/ 2147483647 w 192"/>
                <a:gd name="T47" fmla="*/ 2147483647 h 158"/>
                <a:gd name="T48" fmla="*/ 2147483647 w 192"/>
                <a:gd name="T49" fmla="*/ 2147483647 h 158"/>
                <a:gd name="T50" fmla="*/ 2147483647 w 192"/>
                <a:gd name="T51" fmla="*/ 2147483647 h 158"/>
                <a:gd name="T52" fmla="*/ 2147483647 w 192"/>
                <a:gd name="T53" fmla="*/ 2147483647 h 158"/>
                <a:gd name="T54" fmla="*/ 2147483647 w 192"/>
                <a:gd name="T55" fmla="*/ 2147483647 h 158"/>
                <a:gd name="T56" fmla="*/ 2147483647 w 192"/>
                <a:gd name="T57" fmla="*/ 2147483647 h 158"/>
                <a:gd name="T58" fmla="*/ 2147483647 w 192"/>
                <a:gd name="T59" fmla="*/ 2147483647 h 158"/>
                <a:gd name="T60" fmla="*/ 2147483647 w 192"/>
                <a:gd name="T61" fmla="*/ 2147483647 h 158"/>
                <a:gd name="T62" fmla="*/ 2147483647 w 192"/>
                <a:gd name="T63" fmla="*/ 2147483647 h 158"/>
                <a:gd name="T64" fmla="*/ 2147483647 w 192"/>
                <a:gd name="T65" fmla="*/ 2147483647 h 158"/>
                <a:gd name="T66" fmla="*/ 2147483647 w 192"/>
                <a:gd name="T67" fmla="*/ 2147483647 h 158"/>
                <a:gd name="T68" fmla="*/ 2147483647 w 192"/>
                <a:gd name="T69" fmla="*/ 2147483647 h 158"/>
                <a:gd name="T70" fmla="*/ 2147483647 w 192"/>
                <a:gd name="T71" fmla="*/ 2147483647 h 158"/>
                <a:gd name="T72" fmla="*/ 2147483647 w 192"/>
                <a:gd name="T73" fmla="*/ 2147483647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1" name="Freeform 441"/>
            <p:cNvSpPr>
              <a:spLocks/>
            </p:cNvSpPr>
            <p:nvPr/>
          </p:nvSpPr>
          <p:spPr bwMode="auto">
            <a:xfrm>
              <a:off x="2347913" y="4899025"/>
              <a:ext cx="384175" cy="952500"/>
            </a:xfrm>
            <a:custGeom>
              <a:avLst/>
              <a:gdLst>
                <a:gd name="T0" fmla="*/ 2147483647 w 884"/>
                <a:gd name="T1" fmla="*/ 2147483647 h 1818"/>
                <a:gd name="T2" fmla="*/ 2147483647 w 884"/>
                <a:gd name="T3" fmla="*/ 2147483647 h 1818"/>
                <a:gd name="T4" fmla="*/ 2147483647 w 884"/>
                <a:gd name="T5" fmla="*/ 2147483647 h 1818"/>
                <a:gd name="T6" fmla="*/ 2147483647 w 884"/>
                <a:gd name="T7" fmla="*/ 2147483647 h 1818"/>
                <a:gd name="T8" fmla="*/ 2147483647 w 884"/>
                <a:gd name="T9" fmla="*/ 2147483647 h 1818"/>
                <a:gd name="T10" fmla="*/ 2147483647 w 884"/>
                <a:gd name="T11" fmla="*/ 2147483647 h 1818"/>
                <a:gd name="T12" fmla="*/ 2147483647 w 884"/>
                <a:gd name="T13" fmla="*/ 2147483647 h 1818"/>
                <a:gd name="T14" fmla="*/ 2147483647 w 884"/>
                <a:gd name="T15" fmla="*/ 2147483647 h 1818"/>
                <a:gd name="T16" fmla="*/ 2147483647 w 884"/>
                <a:gd name="T17" fmla="*/ 2147483647 h 1818"/>
                <a:gd name="T18" fmla="*/ 2147483647 w 884"/>
                <a:gd name="T19" fmla="*/ 2147483647 h 1818"/>
                <a:gd name="T20" fmla="*/ 2147483647 w 884"/>
                <a:gd name="T21" fmla="*/ 2147483647 h 1818"/>
                <a:gd name="T22" fmla="*/ 2147483647 w 884"/>
                <a:gd name="T23" fmla="*/ 2147483647 h 1818"/>
                <a:gd name="T24" fmla="*/ 2147483647 w 884"/>
                <a:gd name="T25" fmla="*/ 2147483647 h 1818"/>
                <a:gd name="T26" fmla="*/ 2147483647 w 884"/>
                <a:gd name="T27" fmla="*/ 2147483647 h 1818"/>
                <a:gd name="T28" fmla="*/ 2147483647 w 884"/>
                <a:gd name="T29" fmla="*/ 2147483647 h 1818"/>
                <a:gd name="T30" fmla="*/ 2147483647 w 884"/>
                <a:gd name="T31" fmla="*/ 2147483647 h 1818"/>
                <a:gd name="T32" fmla="*/ 2147483647 w 884"/>
                <a:gd name="T33" fmla="*/ 2147483647 h 1818"/>
                <a:gd name="T34" fmla="*/ 2147483647 w 884"/>
                <a:gd name="T35" fmla="*/ 2147483647 h 1818"/>
                <a:gd name="T36" fmla="*/ 2147483647 w 884"/>
                <a:gd name="T37" fmla="*/ 2147483647 h 1818"/>
                <a:gd name="T38" fmla="*/ 2147483647 w 884"/>
                <a:gd name="T39" fmla="*/ 2147483647 h 1818"/>
                <a:gd name="T40" fmla="*/ 0 w 884"/>
                <a:gd name="T41" fmla="*/ 2147483647 h 1818"/>
                <a:gd name="T42" fmla="*/ 2147483647 w 884"/>
                <a:gd name="T43" fmla="*/ 2147483647 h 1818"/>
                <a:gd name="T44" fmla="*/ 2147483647 w 884"/>
                <a:gd name="T45" fmla="*/ 2147483647 h 1818"/>
                <a:gd name="T46" fmla="*/ 2147483647 w 884"/>
                <a:gd name="T47" fmla="*/ 2147483647 h 1818"/>
                <a:gd name="T48" fmla="*/ 2147483647 w 884"/>
                <a:gd name="T49" fmla="*/ 2147483647 h 1818"/>
                <a:gd name="T50" fmla="*/ 2147483647 w 884"/>
                <a:gd name="T51" fmla="*/ 2147483647 h 1818"/>
                <a:gd name="T52" fmla="*/ 2147483647 w 884"/>
                <a:gd name="T53" fmla="*/ 2147483647 h 1818"/>
                <a:gd name="T54" fmla="*/ 2147483647 w 884"/>
                <a:gd name="T55" fmla="*/ 2147483647 h 1818"/>
                <a:gd name="T56" fmla="*/ 2147483647 w 884"/>
                <a:gd name="T57" fmla="*/ 2147483647 h 1818"/>
                <a:gd name="T58" fmla="*/ 2147483647 w 884"/>
                <a:gd name="T59" fmla="*/ 2147483647 h 1818"/>
                <a:gd name="T60" fmla="*/ 2147483647 w 884"/>
                <a:gd name="T61" fmla="*/ 2147483647 h 1818"/>
                <a:gd name="T62" fmla="*/ 2147483647 w 884"/>
                <a:gd name="T63" fmla="*/ 2147483647 h 1818"/>
                <a:gd name="T64" fmla="*/ 2147483647 w 884"/>
                <a:gd name="T65" fmla="*/ 2147483647 h 1818"/>
                <a:gd name="T66" fmla="*/ 2147483647 w 884"/>
                <a:gd name="T67" fmla="*/ 2147483647 h 1818"/>
                <a:gd name="T68" fmla="*/ 2147483647 w 884"/>
                <a:gd name="T69" fmla="*/ 2147483647 h 1818"/>
                <a:gd name="T70" fmla="*/ 2147483647 w 884"/>
                <a:gd name="T71" fmla="*/ 2147483647 h 1818"/>
                <a:gd name="T72" fmla="*/ 2147483647 w 884"/>
                <a:gd name="T73" fmla="*/ 2147483647 h 1818"/>
                <a:gd name="T74" fmla="*/ 2147483647 w 884"/>
                <a:gd name="T75" fmla="*/ 2147483647 h 1818"/>
                <a:gd name="T76" fmla="*/ 2147483647 w 884"/>
                <a:gd name="T77" fmla="*/ 2147483647 h 1818"/>
                <a:gd name="T78" fmla="*/ 2147483647 w 884"/>
                <a:gd name="T79" fmla="*/ 2147483647 h 1818"/>
                <a:gd name="T80" fmla="*/ 2147483647 w 884"/>
                <a:gd name="T81" fmla="*/ 2147483647 h 1818"/>
                <a:gd name="T82" fmla="*/ 2147483647 w 884"/>
                <a:gd name="T83" fmla="*/ 2147483647 h 1818"/>
                <a:gd name="T84" fmla="*/ 2147483647 w 884"/>
                <a:gd name="T85" fmla="*/ 2147483647 h 1818"/>
                <a:gd name="T86" fmla="*/ 2147483647 w 884"/>
                <a:gd name="T87" fmla="*/ 2147483647 h 1818"/>
                <a:gd name="T88" fmla="*/ 2147483647 w 884"/>
                <a:gd name="T89" fmla="*/ 2147483647 h 1818"/>
                <a:gd name="T90" fmla="*/ 2147483647 w 884"/>
                <a:gd name="T91" fmla="*/ 2147483647 h 1818"/>
                <a:gd name="T92" fmla="*/ 2147483647 w 884"/>
                <a:gd name="T93" fmla="*/ 2147483647 h 1818"/>
                <a:gd name="T94" fmla="*/ 2147483647 w 884"/>
                <a:gd name="T95" fmla="*/ 2147483647 h 1818"/>
                <a:gd name="T96" fmla="*/ 2147483647 w 884"/>
                <a:gd name="T97" fmla="*/ 2147483647 h 1818"/>
                <a:gd name="T98" fmla="*/ 2147483647 w 884"/>
                <a:gd name="T99" fmla="*/ 2147483647 h 1818"/>
                <a:gd name="T100" fmla="*/ 2147483647 w 884"/>
                <a:gd name="T101" fmla="*/ 2147483647 h 1818"/>
                <a:gd name="T102" fmla="*/ 2147483647 w 884"/>
                <a:gd name="T103" fmla="*/ 2147483647 h 1818"/>
                <a:gd name="T104" fmla="*/ 2147483647 w 884"/>
                <a:gd name="T105" fmla="*/ 2147483647 h 1818"/>
                <a:gd name="T106" fmla="*/ 2147483647 w 884"/>
                <a:gd name="T107" fmla="*/ 2147483647 h 1818"/>
                <a:gd name="T108" fmla="*/ 2147483647 w 884"/>
                <a:gd name="T109" fmla="*/ 2147483647 h 1818"/>
                <a:gd name="T110" fmla="*/ 2147483647 w 884"/>
                <a:gd name="T111" fmla="*/ 2147483647 h 1818"/>
                <a:gd name="T112" fmla="*/ 2147483647 w 884"/>
                <a:gd name="T113" fmla="*/ 2147483647 h 1818"/>
                <a:gd name="T114" fmla="*/ 2147483647 w 884"/>
                <a:gd name="T115" fmla="*/ 2147483647 h 1818"/>
                <a:gd name="T116" fmla="*/ 2147483647 w 884"/>
                <a:gd name="T117" fmla="*/ 2147483647 h 1818"/>
                <a:gd name="T118" fmla="*/ 2147483647 w 884"/>
                <a:gd name="T119" fmla="*/ 214748364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2" name="Freeform 442"/>
            <p:cNvSpPr>
              <a:spLocks/>
            </p:cNvSpPr>
            <p:nvPr>
              <p:custDataLst>
                <p:tags r:id="rId266"/>
              </p:custDataLst>
            </p:nvPr>
          </p:nvSpPr>
          <p:spPr bwMode="auto">
            <a:xfrm>
              <a:off x="5057775" y="285115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47533" name="Freeform 443"/>
            <p:cNvSpPr>
              <a:spLocks/>
            </p:cNvSpPr>
            <p:nvPr>
              <p:custDataLst>
                <p:tags r:id="rId267"/>
              </p:custDataLst>
            </p:nvPr>
          </p:nvSpPr>
          <p:spPr bwMode="auto">
            <a:xfrm>
              <a:off x="4524375" y="242411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47534" name="Freeform 444"/>
            <p:cNvSpPr>
              <a:spLocks/>
            </p:cNvSpPr>
            <p:nvPr>
              <p:custDataLst>
                <p:tags r:id="rId268"/>
              </p:custDataLst>
            </p:nvPr>
          </p:nvSpPr>
          <p:spPr bwMode="auto">
            <a:xfrm>
              <a:off x="4381500" y="275590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5" name="Freeform 445"/>
            <p:cNvSpPr>
              <a:spLocks/>
            </p:cNvSpPr>
            <p:nvPr>
              <p:custDataLst>
                <p:tags r:id="rId269"/>
              </p:custDataLst>
            </p:nvPr>
          </p:nvSpPr>
          <p:spPr bwMode="auto">
            <a:xfrm>
              <a:off x="2746375" y="419258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6" name="Freeform 446"/>
            <p:cNvSpPr>
              <a:spLocks/>
            </p:cNvSpPr>
            <p:nvPr>
              <p:custDataLst>
                <p:tags r:id="rId270"/>
              </p:custDataLst>
            </p:nvPr>
          </p:nvSpPr>
          <p:spPr bwMode="auto">
            <a:xfrm>
              <a:off x="4540250" y="279082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37" name="Freeform 447"/>
            <p:cNvSpPr>
              <a:spLocks/>
            </p:cNvSpPr>
            <p:nvPr>
              <p:custDataLst>
                <p:tags r:id="rId271"/>
              </p:custDataLst>
            </p:nvPr>
          </p:nvSpPr>
          <p:spPr bwMode="auto">
            <a:xfrm>
              <a:off x="3895725" y="371792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47538" name="Freeform 448"/>
            <p:cNvSpPr>
              <a:spLocks/>
            </p:cNvSpPr>
            <p:nvPr>
              <p:custDataLst>
                <p:tags r:id="rId272"/>
              </p:custDataLst>
            </p:nvPr>
          </p:nvSpPr>
          <p:spPr bwMode="auto">
            <a:xfrm>
              <a:off x="4243388" y="378618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a:p>
          </p:txBody>
        </p:sp>
        <p:sp>
          <p:nvSpPr>
            <p:cNvPr id="47539" name="Freeform 449"/>
            <p:cNvSpPr>
              <a:spLocks/>
            </p:cNvSpPr>
            <p:nvPr>
              <p:custDataLst>
                <p:tags r:id="rId273"/>
              </p:custDataLst>
            </p:nvPr>
          </p:nvSpPr>
          <p:spPr bwMode="auto">
            <a:xfrm>
              <a:off x="6694488" y="3544888"/>
              <a:ext cx="55562"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47540" name="Freeform 450"/>
            <p:cNvSpPr>
              <a:spLocks/>
            </p:cNvSpPr>
            <p:nvPr>
              <p:custDataLst>
                <p:tags r:id="rId274"/>
              </p:custDataLst>
            </p:nvPr>
          </p:nvSpPr>
          <p:spPr bwMode="auto">
            <a:xfrm>
              <a:off x="2049463" y="3808413"/>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1" name="Freeform 451"/>
            <p:cNvSpPr>
              <a:spLocks/>
            </p:cNvSpPr>
            <p:nvPr>
              <p:custDataLst>
                <p:tags r:id="rId275"/>
              </p:custDataLst>
            </p:nvPr>
          </p:nvSpPr>
          <p:spPr bwMode="auto">
            <a:xfrm>
              <a:off x="4302125" y="407670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47542" name="Freeform 452"/>
            <p:cNvSpPr>
              <a:spLocks/>
            </p:cNvSpPr>
            <p:nvPr>
              <p:custDataLst>
                <p:tags r:id="rId276"/>
              </p:custDataLst>
            </p:nvPr>
          </p:nvSpPr>
          <p:spPr bwMode="auto">
            <a:xfrm>
              <a:off x="4333875" y="271938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3" name="Freeform 453"/>
            <p:cNvSpPr>
              <a:spLocks/>
            </p:cNvSpPr>
            <p:nvPr>
              <p:custDataLst>
                <p:tags r:id="rId277"/>
              </p:custDataLst>
            </p:nvPr>
          </p:nvSpPr>
          <p:spPr bwMode="auto">
            <a:xfrm>
              <a:off x="4284663" y="257810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4" name="Freeform 454"/>
            <p:cNvSpPr>
              <a:spLocks/>
            </p:cNvSpPr>
            <p:nvPr>
              <p:custDataLst>
                <p:tags r:id="rId278"/>
              </p:custDataLst>
            </p:nvPr>
          </p:nvSpPr>
          <p:spPr bwMode="auto">
            <a:xfrm>
              <a:off x="4248150" y="2433638"/>
              <a:ext cx="30163"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5" name="Freeform 455"/>
            <p:cNvSpPr>
              <a:spLocks/>
            </p:cNvSpPr>
            <p:nvPr>
              <p:custDataLst>
                <p:tags r:id="rId279"/>
              </p:custDataLst>
            </p:nvPr>
          </p:nvSpPr>
          <p:spPr bwMode="auto">
            <a:xfrm>
              <a:off x="4219575" y="243840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7546" name="Freeform 456"/>
            <p:cNvSpPr>
              <a:spLocks/>
            </p:cNvSpPr>
            <p:nvPr>
              <p:custDataLst>
                <p:tags r:id="rId280"/>
              </p:custDataLst>
            </p:nvPr>
          </p:nvSpPr>
          <p:spPr bwMode="auto">
            <a:xfrm>
              <a:off x="4189413" y="2384425"/>
              <a:ext cx="52387"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7" name="Freeform 457"/>
            <p:cNvSpPr>
              <a:spLocks/>
            </p:cNvSpPr>
            <p:nvPr>
              <p:custDataLst>
                <p:tags r:id="rId281"/>
              </p:custDataLst>
            </p:nvPr>
          </p:nvSpPr>
          <p:spPr bwMode="auto">
            <a:xfrm>
              <a:off x="4621213" y="318928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8" name="Freeform 458"/>
            <p:cNvSpPr>
              <a:spLocks/>
            </p:cNvSpPr>
            <p:nvPr>
              <p:custDataLst>
                <p:tags r:id="rId282"/>
              </p:custDataLst>
            </p:nvPr>
          </p:nvSpPr>
          <p:spPr bwMode="auto">
            <a:xfrm>
              <a:off x="4216400" y="2824163"/>
              <a:ext cx="17463"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49" name="Freeform 459"/>
            <p:cNvSpPr>
              <a:spLocks/>
            </p:cNvSpPr>
            <p:nvPr>
              <p:custDataLst>
                <p:tags r:id="rId283"/>
              </p:custDataLst>
            </p:nvPr>
          </p:nvSpPr>
          <p:spPr bwMode="auto">
            <a:xfrm>
              <a:off x="3856038" y="257492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50" name="Freeform 460"/>
            <p:cNvSpPr>
              <a:spLocks/>
            </p:cNvSpPr>
            <p:nvPr>
              <p:custDataLst>
                <p:tags r:id="rId284"/>
              </p:custDataLst>
            </p:nvPr>
          </p:nvSpPr>
          <p:spPr bwMode="auto">
            <a:xfrm>
              <a:off x="4937125" y="2809875"/>
              <a:ext cx="150813"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47551" name="Freeform 461"/>
            <p:cNvSpPr>
              <a:spLocks/>
            </p:cNvSpPr>
            <p:nvPr>
              <p:custDataLst>
                <p:tags r:id="rId285"/>
              </p:custDataLst>
            </p:nvPr>
          </p:nvSpPr>
          <p:spPr bwMode="auto">
            <a:xfrm>
              <a:off x="4486275" y="2870200"/>
              <a:ext cx="147638"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47552" name="Freeform 462"/>
            <p:cNvSpPr>
              <a:spLocks/>
            </p:cNvSpPr>
            <p:nvPr>
              <p:custDataLst>
                <p:tags r:id="rId286"/>
              </p:custDataLst>
            </p:nvPr>
          </p:nvSpPr>
          <p:spPr bwMode="auto">
            <a:xfrm>
              <a:off x="4570413" y="306228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53" name="Freeform 463"/>
            <p:cNvSpPr>
              <a:spLocks/>
            </p:cNvSpPr>
            <p:nvPr>
              <p:custDataLst>
                <p:tags r:id="rId287"/>
              </p:custDataLst>
            </p:nvPr>
          </p:nvSpPr>
          <p:spPr bwMode="auto">
            <a:xfrm>
              <a:off x="3649663" y="379412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450" name="Freeform 464"/>
            <p:cNvSpPr>
              <a:spLocks/>
            </p:cNvSpPr>
            <p:nvPr>
              <p:custDataLst>
                <p:tags r:id="rId288"/>
              </p:custDataLst>
            </p:nvPr>
          </p:nvSpPr>
          <p:spPr bwMode="auto">
            <a:xfrm>
              <a:off x="5694363" y="3032125"/>
              <a:ext cx="692150" cy="874713"/>
            </a:xfrm>
            <a:custGeom>
              <a:avLst/>
              <a:gdLst>
                <a:gd name="T0" fmla="*/ 89937815 w 1594"/>
                <a:gd name="T1" fmla="*/ 29354706 h 1670"/>
                <a:gd name="T2" fmla="*/ 91446302 w 1594"/>
                <a:gd name="T3" fmla="*/ 50753723 h 1670"/>
                <a:gd name="T4" fmla="*/ 108981058 w 1594"/>
                <a:gd name="T5" fmla="*/ 78737174 h 1670"/>
                <a:gd name="T6" fmla="*/ 132172860 w 1594"/>
                <a:gd name="T7" fmla="*/ 125924482 h 1670"/>
                <a:gd name="T8" fmla="*/ 149896503 w 1594"/>
                <a:gd name="T9" fmla="*/ 136898190 h 1670"/>
                <a:gd name="T10" fmla="*/ 165357414 w 1594"/>
                <a:gd name="T11" fmla="*/ 135251950 h 1670"/>
                <a:gd name="T12" fmla="*/ 175350601 w 1594"/>
                <a:gd name="T13" fmla="*/ 147323500 h 1670"/>
                <a:gd name="T14" fmla="*/ 207780912 w 1594"/>
                <a:gd name="T15" fmla="*/ 155553649 h 1670"/>
                <a:gd name="T16" fmla="*/ 211363244 w 1594"/>
                <a:gd name="T17" fmla="*/ 126472880 h 1670"/>
                <a:gd name="T18" fmla="*/ 222299127 w 1594"/>
                <a:gd name="T19" fmla="*/ 147871897 h 1670"/>
                <a:gd name="T20" fmla="*/ 234366159 w 1594"/>
                <a:gd name="T21" fmla="*/ 153907410 h 1670"/>
                <a:gd name="T22" fmla="*/ 244924703 w 1594"/>
                <a:gd name="T23" fmla="*/ 136623729 h 1670"/>
                <a:gd name="T24" fmla="*/ 264722624 w 1594"/>
                <a:gd name="T25" fmla="*/ 112207217 h 1670"/>
                <a:gd name="T26" fmla="*/ 292062115 w 1594"/>
                <a:gd name="T27" fmla="*/ 117419872 h 1670"/>
                <a:gd name="T28" fmla="*/ 297718726 w 1594"/>
                <a:gd name="T29" fmla="*/ 136623729 h 1670"/>
                <a:gd name="T30" fmla="*/ 283577416 w 1594"/>
                <a:gd name="T31" fmla="*/ 148695278 h 1670"/>
                <a:gd name="T32" fmla="*/ 279995083 w 1594"/>
                <a:gd name="T33" fmla="*/ 186280134 h 1670"/>
                <a:gd name="T34" fmla="*/ 269436105 w 1594"/>
                <a:gd name="T35" fmla="*/ 193139028 h 1670"/>
                <a:gd name="T36" fmla="*/ 265476868 w 1594"/>
                <a:gd name="T37" fmla="*/ 223317116 h 1670"/>
                <a:gd name="T38" fmla="*/ 249072826 w 1594"/>
                <a:gd name="T39" fmla="*/ 206856294 h 1670"/>
                <a:gd name="T40" fmla="*/ 249450165 w 1594"/>
                <a:gd name="T41" fmla="*/ 191492789 h 1670"/>
                <a:gd name="T42" fmla="*/ 230972279 w 1594"/>
                <a:gd name="T43" fmla="*/ 175031966 h 1670"/>
                <a:gd name="T44" fmla="*/ 223807614 w 1594"/>
                <a:gd name="T45" fmla="*/ 161314701 h 1670"/>
                <a:gd name="T46" fmla="*/ 213248636 w 1594"/>
                <a:gd name="T47" fmla="*/ 157748286 h 1670"/>
                <a:gd name="T48" fmla="*/ 212494392 w 1594"/>
                <a:gd name="T49" fmla="*/ 171465551 h 1670"/>
                <a:gd name="T50" fmla="*/ 210609000 w 1594"/>
                <a:gd name="T51" fmla="*/ 187377452 h 1670"/>
                <a:gd name="T52" fmla="*/ 218716795 w 1594"/>
                <a:gd name="T53" fmla="*/ 201643639 h 1670"/>
                <a:gd name="T54" fmla="*/ 216642516 w 1594"/>
                <a:gd name="T55" fmla="*/ 231272805 h 1670"/>
                <a:gd name="T56" fmla="*/ 202690092 w 1594"/>
                <a:gd name="T57" fmla="*/ 237034381 h 1670"/>
                <a:gd name="T58" fmla="*/ 197787724 w 1594"/>
                <a:gd name="T59" fmla="*/ 257061620 h 1670"/>
                <a:gd name="T60" fmla="*/ 179875629 w 1594"/>
                <a:gd name="T61" fmla="*/ 274619237 h 1670"/>
                <a:gd name="T62" fmla="*/ 171956721 w 1594"/>
                <a:gd name="T63" fmla="*/ 288062565 h 1670"/>
                <a:gd name="T64" fmla="*/ 147067980 w 1594"/>
                <a:gd name="T65" fmla="*/ 325921881 h 1670"/>
                <a:gd name="T66" fmla="*/ 136320983 w 1594"/>
                <a:gd name="T67" fmla="*/ 338267368 h 1670"/>
                <a:gd name="T68" fmla="*/ 140280220 w 1594"/>
                <a:gd name="T69" fmla="*/ 368719916 h 1670"/>
                <a:gd name="T70" fmla="*/ 134246704 w 1594"/>
                <a:gd name="T71" fmla="*/ 396428906 h 1670"/>
                <a:gd name="T72" fmla="*/ 136132097 w 1594"/>
                <a:gd name="T73" fmla="*/ 418101860 h 1670"/>
                <a:gd name="T74" fmla="*/ 130664372 w 1594"/>
                <a:gd name="T75" fmla="*/ 432368046 h 1670"/>
                <a:gd name="T76" fmla="*/ 112186486 w 1594"/>
                <a:gd name="T77" fmla="*/ 456236161 h 1670"/>
                <a:gd name="T78" fmla="*/ 97291366 w 1594"/>
                <a:gd name="T79" fmla="*/ 419473639 h 1670"/>
                <a:gd name="T80" fmla="*/ 79001932 w 1594"/>
                <a:gd name="T81" fmla="*/ 365976358 h 1670"/>
                <a:gd name="T82" fmla="*/ 56753260 w 1594"/>
                <a:gd name="T83" fmla="*/ 305620706 h 1670"/>
                <a:gd name="T84" fmla="*/ 48834352 w 1594"/>
                <a:gd name="T85" fmla="*/ 236211000 h 1670"/>
                <a:gd name="T86" fmla="*/ 43366194 w 1594"/>
                <a:gd name="T87" fmla="*/ 223317116 h 1670"/>
                <a:gd name="T88" fmla="*/ 30921823 w 1594"/>
                <a:gd name="T89" fmla="*/ 246910770 h 1670"/>
                <a:gd name="T90" fmla="*/ 16969399 w 1594"/>
                <a:gd name="T91" fmla="*/ 240326336 h 1670"/>
                <a:gd name="T92" fmla="*/ 9615848 w 1594"/>
                <a:gd name="T93" fmla="*/ 218927319 h 1670"/>
                <a:gd name="T94" fmla="*/ 5656611 w 1594"/>
                <a:gd name="T95" fmla="*/ 211520027 h 1670"/>
                <a:gd name="T96" fmla="*/ 6033516 w 1594"/>
                <a:gd name="T97" fmla="*/ 194236347 h 1670"/>
                <a:gd name="T98" fmla="*/ 29979127 w 1594"/>
                <a:gd name="T99" fmla="*/ 180793542 h 1670"/>
                <a:gd name="T100" fmla="*/ 17346304 w 1594"/>
                <a:gd name="T101" fmla="*/ 156102570 h 1670"/>
                <a:gd name="T102" fmla="*/ 11124336 w 1594"/>
                <a:gd name="T103" fmla="*/ 137172650 h 1670"/>
                <a:gd name="T104" fmla="*/ 30544918 w 1594"/>
                <a:gd name="T105" fmla="*/ 125924482 h 1670"/>
                <a:gd name="T106" fmla="*/ 50908197 w 1594"/>
                <a:gd name="T107" fmla="*/ 80657351 h 1670"/>
                <a:gd name="T108" fmla="*/ 51662441 w 1594"/>
                <a:gd name="T109" fmla="*/ 63099210 h 1670"/>
                <a:gd name="T110" fmla="*/ 42800402 w 1594"/>
                <a:gd name="T111" fmla="*/ 38957158 h 1670"/>
                <a:gd name="T112" fmla="*/ 60712932 w 1594"/>
                <a:gd name="T113" fmla="*/ 14814583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55" name="Freeform 465"/>
            <p:cNvSpPr>
              <a:spLocks/>
            </p:cNvSpPr>
            <p:nvPr>
              <p:custDataLst>
                <p:tags r:id="rId289"/>
              </p:custDataLst>
            </p:nvPr>
          </p:nvSpPr>
          <p:spPr bwMode="auto">
            <a:xfrm>
              <a:off x="3816350" y="385286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452" name="Freeform 466"/>
            <p:cNvSpPr>
              <a:spLocks/>
            </p:cNvSpPr>
            <p:nvPr>
              <p:custDataLst>
                <p:tags r:id="rId290"/>
              </p:custDataLst>
            </p:nvPr>
          </p:nvSpPr>
          <p:spPr bwMode="auto">
            <a:xfrm>
              <a:off x="4884738" y="4048125"/>
              <a:ext cx="192087" cy="271463"/>
            </a:xfrm>
            <a:custGeom>
              <a:avLst/>
              <a:gdLst>
                <a:gd name="T0" fmla="*/ 75039669 w 449"/>
                <a:gd name="T1" fmla="*/ 28288105 h 523"/>
                <a:gd name="T2" fmla="*/ 74124577 w 449"/>
                <a:gd name="T3" fmla="*/ 26402405 h 523"/>
                <a:gd name="T4" fmla="*/ 74673889 w 449"/>
                <a:gd name="T5" fmla="*/ 24785571 h 523"/>
                <a:gd name="T6" fmla="*/ 77236061 w 449"/>
                <a:gd name="T7" fmla="*/ 20744783 h 523"/>
                <a:gd name="T8" fmla="*/ 80713324 w 449"/>
                <a:gd name="T9" fmla="*/ 16164706 h 523"/>
                <a:gd name="T10" fmla="*/ 81811520 w 449"/>
                <a:gd name="T11" fmla="*/ 13470329 h 523"/>
                <a:gd name="T12" fmla="*/ 82177728 w 449"/>
                <a:gd name="T13" fmla="*/ 9968313 h 523"/>
                <a:gd name="T14" fmla="*/ 79066244 w 449"/>
                <a:gd name="T15" fmla="*/ 9160156 h 523"/>
                <a:gd name="T16" fmla="*/ 77236061 w 449"/>
                <a:gd name="T17" fmla="*/ 7273936 h 523"/>
                <a:gd name="T18" fmla="*/ 75222773 w 449"/>
                <a:gd name="T19" fmla="*/ 5657621 h 523"/>
                <a:gd name="T20" fmla="*/ 71379302 w 449"/>
                <a:gd name="T21" fmla="*/ 4849464 h 523"/>
                <a:gd name="T22" fmla="*/ 68999806 w 449"/>
                <a:gd name="T23" fmla="*/ 5388235 h 523"/>
                <a:gd name="T24" fmla="*/ 67352727 w 449"/>
                <a:gd name="T25" fmla="*/ 6465778 h 523"/>
                <a:gd name="T26" fmla="*/ 64973659 w 449"/>
                <a:gd name="T27" fmla="*/ 9968313 h 523"/>
                <a:gd name="T28" fmla="*/ 62227956 w 449"/>
                <a:gd name="T29" fmla="*/ 13470329 h 523"/>
                <a:gd name="T30" fmla="*/ 59665784 w 449"/>
                <a:gd name="T31" fmla="*/ 14548391 h 523"/>
                <a:gd name="T32" fmla="*/ 56737405 w 449"/>
                <a:gd name="T33" fmla="*/ 14817777 h 523"/>
                <a:gd name="T34" fmla="*/ 52527726 w 449"/>
                <a:gd name="T35" fmla="*/ 14548391 h 523"/>
                <a:gd name="T36" fmla="*/ 48867358 w 449"/>
                <a:gd name="T37" fmla="*/ 13470329 h 523"/>
                <a:gd name="T38" fmla="*/ 43010599 w 449"/>
                <a:gd name="T39" fmla="*/ 9698927 h 523"/>
                <a:gd name="T40" fmla="*/ 37702725 w 449"/>
                <a:gd name="T41" fmla="*/ 5118849 h 523"/>
                <a:gd name="T42" fmla="*/ 34591669 w 449"/>
                <a:gd name="T43" fmla="*/ 3233149 h 523"/>
                <a:gd name="T44" fmla="*/ 31113978 w 449"/>
                <a:gd name="T45" fmla="*/ 1616315 h 523"/>
                <a:gd name="T46" fmla="*/ 24525231 w 449"/>
                <a:gd name="T47" fmla="*/ 2155086 h 523"/>
                <a:gd name="T48" fmla="*/ 21779956 w 449"/>
                <a:gd name="T49" fmla="*/ 1616315 h 523"/>
                <a:gd name="T50" fmla="*/ 18851576 w 449"/>
                <a:gd name="T51" fmla="*/ 0 h 523"/>
                <a:gd name="T52" fmla="*/ 9517126 w 449"/>
                <a:gd name="T53" fmla="*/ 0 h 523"/>
                <a:gd name="T54" fmla="*/ 915092 w 449"/>
                <a:gd name="T55" fmla="*/ 0 h 523"/>
                <a:gd name="T56" fmla="*/ 915092 w 449"/>
                <a:gd name="T57" fmla="*/ 4849464 h 523"/>
                <a:gd name="T58" fmla="*/ 915092 w 449"/>
                <a:gd name="T59" fmla="*/ 9968313 h 523"/>
                <a:gd name="T60" fmla="*/ 2745275 w 449"/>
                <a:gd name="T61" fmla="*/ 16164706 h 523"/>
                <a:gd name="T62" fmla="*/ 4209679 w 449"/>
                <a:gd name="T63" fmla="*/ 24516185 h 523"/>
                <a:gd name="T64" fmla="*/ 5673655 w 449"/>
                <a:gd name="T65" fmla="*/ 34484498 h 523"/>
                <a:gd name="T66" fmla="*/ 6954955 w 449"/>
                <a:gd name="T67" fmla="*/ 46338511 h 523"/>
                <a:gd name="T68" fmla="*/ 6771851 w 449"/>
                <a:gd name="T69" fmla="*/ 55498667 h 523"/>
                <a:gd name="T70" fmla="*/ 5307875 w 449"/>
                <a:gd name="T71" fmla="*/ 61964446 h 523"/>
                <a:gd name="T72" fmla="*/ 1281300 w 449"/>
                <a:gd name="T73" fmla="*/ 72471530 h 523"/>
                <a:gd name="T74" fmla="*/ 1830184 w 449"/>
                <a:gd name="T75" fmla="*/ 86480630 h 523"/>
                <a:gd name="T76" fmla="*/ 5124771 w 449"/>
                <a:gd name="T77" fmla="*/ 91330094 h 523"/>
                <a:gd name="T78" fmla="*/ 15373885 w 449"/>
                <a:gd name="T79" fmla="*/ 98873935 h 523"/>
                <a:gd name="T80" fmla="*/ 24891439 w 449"/>
                <a:gd name="T81" fmla="*/ 106686642 h 523"/>
                <a:gd name="T82" fmla="*/ 31113978 w 449"/>
                <a:gd name="T83" fmla="*/ 113152421 h 523"/>
                <a:gd name="T84" fmla="*/ 34591669 w 449"/>
                <a:gd name="T85" fmla="*/ 117463113 h 523"/>
                <a:gd name="T86" fmla="*/ 36238749 w 449"/>
                <a:gd name="T87" fmla="*/ 121504419 h 523"/>
                <a:gd name="T88" fmla="*/ 36787633 w 449"/>
                <a:gd name="T89" fmla="*/ 125006434 h 523"/>
                <a:gd name="T90" fmla="*/ 38252036 w 449"/>
                <a:gd name="T91" fmla="*/ 129047741 h 523"/>
                <a:gd name="T92" fmla="*/ 40265324 w 449"/>
                <a:gd name="T93" fmla="*/ 132550275 h 523"/>
                <a:gd name="T94" fmla="*/ 42644392 w 449"/>
                <a:gd name="T95" fmla="*/ 135513519 h 523"/>
                <a:gd name="T96" fmla="*/ 45206991 w 449"/>
                <a:gd name="T97" fmla="*/ 137937991 h 523"/>
                <a:gd name="T98" fmla="*/ 48318474 w 449"/>
                <a:gd name="T99" fmla="*/ 139824211 h 523"/>
                <a:gd name="T100" fmla="*/ 51429530 w 449"/>
                <a:gd name="T101" fmla="*/ 140901754 h 523"/>
                <a:gd name="T102" fmla="*/ 55639209 w 449"/>
                <a:gd name="T103" fmla="*/ 135244133 h 523"/>
                <a:gd name="T104" fmla="*/ 61312864 w 449"/>
                <a:gd name="T105" fmla="*/ 124467663 h 523"/>
                <a:gd name="T106" fmla="*/ 66803843 w 449"/>
                <a:gd name="T107" fmla="*/ 115038121 h 523"/>
                <a:gd name="T108" fmla="*/ 72111290 w 449"/>
                <a:gd name="T109" fmla="*/ 10507032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57" name="Freeform 467"/>
            <p:cNvSpPr>
              <a:spLocks/>
            </p:cNvSpPr>
            <p:nvPr>
              <p:custDataLst>
                <p:tags r:id="rId291"/>
              </p:custDataLst>
            </p:nvPr>
          </p:nvSpPr>
          <p:spPr bwMode="auto">
            <a:xfrm>
              <a:off x="4867275" y="313372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47558" name="Freeform 468"/>
            <p:cNvSpPr>
              <a:spLocks/>
            </p:cNvSpPr>
            <p:nvPr>
              <p:custDataLst>
                <p:tags r:id="rId292"/>
              </p:custDataLst>
            </p:nvPr>
          </p:nvSpPr>
          <p:spPr bwMode="auto">
            <a:xfrm>
              <a:off x="5165725" y="323691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47559" name="Freeform 469"/>
            <p:cNvSpPr>
              <a:spLocks/>
            </p:cNvSpPr>
            <p:nvPr>
              <p:custDataLst>
                <p:tags r:id="rId293"/>
              </p:custDataLst>
            </p:nvPr>
          </p:nvSpPr>
          <p:spPr bwMode="auto">
            <a:xfrm>
              <a:off x="4452938" y="237172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60" name="Freeform 470"/>
            <p:cNvSpPr>
              <a:spLocks/>
            </p:cNvSpPr>
            <p:nvPr>
              <p:custDataLst>
                <p:tags r:id="rId294"/>
              </p:custDataLst>
            </p:nvPr>
          </p:nvSpPr>
          <p:spPr bwMode="auto">
            <a:xfrm>
              <a:off x="4864100" y="3092450"/>
              <a:ext cx="30163"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47561" name="Freeform 471"/>
            <p:cNvSpPr>
              <a:spLocks/>
            </p:cNvSpPr>
            <p:nvPr>
              <p:custDataLst>
                <p:tags r:id="rId295"/>
              </p:custDataLst>
            </p:nvPr>
          </p:nvSpPr>
          <p:spPr bwMode="auto">
            <a:xfrm>
              <a:off x="4679950" y="5103813"/>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B0F0"/>
            </a:solidFill>
            <a:ln w="9525" cmpd="sng">
              <a:solidFill>
                <a:srgbClr val="FFFFFF"/>
              </a:solidFill>
              <a:prstDash val="solid"/>
              <a:round/>
              <a:headEnd/>
              <a:tailEnd/>
            </a:ln>
          </p:spPr>
          <p:txBody>
            <a:bodyPr/>
            <a:lstStyle/>
            <a:p>
              <a:endParaRPr lang="en-GB"/>
            </a:p>
          </p:txBody>
        </p:sp>
        <p:sp>
          <p:nvSpPr>
            <p:cNvPr id="47562" name="Freeform 472"/>
            <p:cNvSpPr>
              <a:spLocks/>
            </p:cNvSpPr>
            <p:nvPr>
              <p:custDataLst>
                <p:tags r:id="rId296"/>
              </p:custDataLst>
            </p:nvPr>
          </p:nvSpPr>
          <p:spPr bwMode="auto">
            <a:xfrm>
              <a:off x="4451350" y="2419350"/>
              <a:ext cx="131763"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63" name="Freeform 473"/>
            <p:cNvSpPr>
              <a:spLocks/>
            </p:cNvSpPr>
            <p:nvPr>
              <p:custDataLst>
                <p:tags r:id="rId297"/>
              </p:custDataLst>
            </p:nvPr>
          </p:nvSpPr>
          <p:spPr bwMode="auto">
            <a:xfrm>
              <a:off x="4157663" y="260508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60" name="Freeform 474"/>
            <p:cNvSpPr>
              <a:spLocks/>
            </p:cNvSpPr>
            <p:nvPr>
              <p:custDataLst>
                <p:tags r:id="rId298"/>
              </p:custDataLst>
            </p:nvPr>
          </p:nvSpPr>
          <p:spPr bwMode="auto">
            <a:xfrm>
              <a:off x="4854575" y="4489450"/>
              <a:ext cx="69850" cy="241300"/>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65" name="Freeform 475"/>
            <p:cNvSpPr>
              <a:spLocks/>
            </p:cNvSpPr>
            <p:nvPr>
              <p:custDataLst>
                <p:tags r:id="rId299"/>
              </p:custDataLst>
            </p:nvPr>
          </p:nvSpPr>
          <p:spPr bwMode="auto">
            <a:xfrm>
              <a:off x="4346575" y="3060700"/>
              <a:ext cx="14288"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462" name="Freeform 476"/>
            <p:cNvSpPr>
              <a:spLocks/>
            </p:cNvSpPr>
            <p:nvPr>
              <p:custDataLst>
                <p:tags r:id="rId300"/>
              </p:custDataLst>
            </p:nvPr>
          </p:nvSpPr>
          <p:spPr bwMode="auto">
            <a:xfrm>
              <a:off x="4665663" y="4681538"/>
              <a:ext cx="188912" cy="217487"/>
            </a:xfrm>
            <a:custGeom>
              <a:avLst/>
              <a:gdLst>
                <a:gd name="T0" fmla="*/ 52831806 w 438"/>
                <a:gd name="T1" fmla="*/ 2295409 h 406"/>
                <a:gd name="T2" fmla="*/ 59528729 w 438"/>
                <a:gd name="T3" fmla="*/ 7747608 h 406"/>
                <a:gd name="T4" fmla="*/ 67527771 w 438"/>
                <a:gd name="T5" fmla="*/ 13486934 h 406"/>
                <a:gd name="T6" fmla="*/ 73480687 w 438"/>
                <a:gd name="T7" fmla="*/ 16643725 h 406"/>
                <a:gd name="T8" fmla="*/ 77387046 w 438"/>
                <a:gd name="T9" fmla="*/ 17504570 h 406"/>
                <a:gd name="T10" fmla="*/ 79061384 w 438"/>
                <a:gd name="T11" fmla="*/ 23243360 h 406"/>
                <a:gd name="T12" fmla="*/ 79805391 w 438"/>
                <a:gd name="T13" fmla="*/ 34434886 h 406"/>
                <a:gd name="T14" fmla="*/ 80735723 w 438"/>
                <a:gd name="T15" fmla="*/ 45052693 h 406"/>
                <a:gd name="T16" fmla="*/ 81479730 w 438"/>
                <a:gd name="T17" fmla="*/ 55957091 h 406"/>
                <a:gd name="T18" fmla="*/ 81479730 w 438"/>
                <a:gd name="T19" fmla="*/ 63991826 h 406"/>
                <a:gd name="T20" fmla="*/ 80921617 w 438"/>
                <a:gd name="T21" fmla="*/ 68008926 h 406"/>
                <a:gd name="T22" fmla="*/ 79061384 w 438"/>
                <a:gd name="T23" fmla="*/ 74321971 h 406"/>
                <a:gd name="T24" fmla="*/ 75712707 w 438"/>
                <a:gd name="T25" fmla="*/ 82357242 h 406"/>
                <a:gd name="T26" fmla="*/ 72736681 w 438"/>
                <a:gd name="T27" fmla="*/ 88096032 h 406"/>
                <a:gd name="T28" fmla="*/ 70876017 w 438"/>
                <a:gd name="T29" fmla="*/ 91826541 h 406"/>
                <a:gd name="T30" fmla="*/ 69573898 w 438"/>
                <a:gd name="T31" fmla="*/ 95269922 h 406"/>
                <a:gd name="T32" fmla="*/ 69202110 w 438"/>
                <a:gd name="T33" fmla="*/ 101009248 h 406"/>
                <a:gd name="T34" fmla="*/ 66783765 w 438"/>
                <a:gd name="T35" fmla="*/ 106748574 h 406"/>
                <a:gd name="T36" fmla="*/ 59714623 w 438"/>
                <a:gd name="T37" fmla="*/ 115070437 h 406"/>
                <a:gd name="T38" fmla="*/ 38135410 w 438"/>
                <a:gd name="T39" fmla="*/ 111339928 h 406"/>
                <a:gd name="T40" fmla="*/ 33856833 w 438"/>
                <a:gd name="T41" fmla="*/ 108757392 h 406"/>
                <a:gd name="T42" fmla="*/ 30694481 w 438"/>
                <a:gd name="T43" fmla="*/ 106174320 h 406"/>
                <a:gd name="T44" fmla="*/ 27903917 w 438"/>
                <a:gd name="T45" fmla="*/ 103018066 h 406"/>
                <a:gd name="T46" fmla="*/ 25857790 w 438"/>
                <a:gd name="T47" fmla="*/ 99287557 h 406"/>
                <a:gd name="T48" fmla="*/ 23067226 w 438"/>
                <a:gd name="T49" fmla="*/ 92400259 h 406"/>
                <a:gd name="T50" fmla="*/ 20090768 w 438"/>
                <a:gd name="T51" fmla="*/ 84939778 h 406"/>
                <a:gd name="T52" fmla="*/ 17486529 w 438"/>
                <a:gd name="T53" fmla="*/ 80061297 h 406"/>
                <a:gd name="T54" fmla="*/ 13393845 w 438"/>
                <a:gd name="T55" fmla="*/ 74321971 h 406"/>
                <a:gd name="T56" fmla="*/ 8185367 w 438"/>
                <a:gd name="T57" fmla="*/ 67148081 h 406"/>
                <a:gd name="T58" fmla="*/ 4464471 w 438"/>
                <a:gd name="T59" fmla="*/ 61122163 h 406"/>
                <a:gd name="T60" fmla="*/ 2418345 w 438"/>
                <a:gd name="T61" fmla="*/ 55957091 h 406"/>
                <a:gd name="T62" fmla="*/ 744007 w 438"/>
                <a:gd name="T63" fmla="*/ 50504892 h 406"/>
                <a:gd name="T64" fmla="*/ 0 w 438"/>
                <a:gd name="T65" fmla="*/ 44191312 h 406"/>
                <a:gd name="T66" fmla="*/ 3348677 w 438"/>
                <a:gd name="T67" fmla="*/ 40461339 h 406"/>
                <a:gd name="T68" fmla="*/ 7440929 w 438"/>
                <a:gd name="T69" fmla="*/ 40461339 h 406"/>
                <a:gd name="T70" fmla="*/ 9859275 w 438"/>
                <a:gd name="T71" fmla="*/ 40461339 h 406"/>
                <a:gd name="T72" fmla="*/ 11719507 w 438"/>
                <a:gd name="T73" fmla="*/ 39599958 h 406"/>
                <a:gd name="T74" fmla="*/ 14324177 w 438"/>
                <a:gd name="T75" fmla="*/ 37591676 h 406"/>
                <a:gd name="T76" fmla="*/ 18416861 w 438"/>
                <a:gd name="T77" fmla="*/ 30991504 h 406"/>
                <a:gd name="T78" fmla="*/ 21765107 w 438"/>
                <a:gd name="T79" fmla="*/ 24965587 h 406"/>
                <a:gd name="T80" fmla="*/ 24183452 w 438"/>
                <a:gd name="T81" fmla="*/ 22956769 h 406"/>
                <a:gd name="T82" fmla="*/ 27903917 w 438"/>
                <a:gd name="T83" fmla="*/ 20374233 h 406"/>
                <a:gd name="T84" fmla="*/ 33298720 w 438"/>
                <a:gd name="T85" fmla="*/ 17217443 h 406"/>
                <a:gd name="T86" fmla="*/ 37763622 w 438"/>
                <a:gd name="T87" fmla="*/ 14347780 h 406"/>
                <a:gd name="T88" fmla="*/ 39251636 w 438"/>
                <a:gd name="T89" fmla="*/ 12338962 h 406"/>
                <a:gd name="T90" fmla="*/ 39065742 w 438"/>
                <a:gd name="T91" fmla="*/ 10904398 h 406"/>
                <a:gd name="T92" fmla="*/ 39251636 w 438"/>
                <a:gd name="T93" fmla="*/ 8608989 h 406"/>
                <a:gd name="T94" fmla="*/ 39623855 w 438"/>
                <a:gd name="T95" fmla="*/ 4878481 h 406"/>
                <a:gd name="T96" fmla="*/ 40367861 w 438"/>
                <a:gd name="T97" fmla="*/ 3443381 h 406"/>
                <a:gd name="T98" fmla="*/ 41855875 w 438"/>
                <a:gd name="T99" fmla="*/ 3443381 h 406"/>
                <a:gd name="T100" fmla="*/ 43158426 w 438"/>
                <a:gd name="T101" fmla="*/ 2582536 h 406"/>
                <a:gd name="T102" fmla="*/ 43902432 w 438"/>
                <a:gd name="T103" fmla="*/ 1147972 h 406"/>
                <a:gd name="T104" fmla="*/ 45390446 w 438"/>
                <a:gd name="T105" fmla="*/ 573718 h 406"/>
                <a:gd name="T106" fmla="*/ 46692565 w 438"/>
                <a:gd name="T107" fmla="*/ 860845 h 406"/>
                <a:gd name="T108" fmla="*/ 49110910 w 438"/>
                <a:gd name="T109" fmla="*/ 28712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63" name="Freeform 477"/>
            <p:cNvSpPr>
              <a:spLocks/>
            </p:cNvSpPr>
            <p:nvPr>
              <p:custDataLst>
                <p:tags r:id="rId301"/>
              </p:custDataLst>
            </p:nvPr>
          </p:nvSpPr>
          <p:spPr bwMode="auto">
            <a:xfrm>
              <a:off x="4578350" y="4457700"/>
              <a:ext cx="293688" cy="300038"/>
            </a:xfrm>
            <a:custGeom>
              <a:avLst/>
              <a:gdLst>
                <a:gd name="T0" fmla="*/ 96256131 w 678"/>
                <a:gd name="T1" fmla="*/ 2185984 h 574"/>
                <a:gd name="T2" fmla="*/ 103573615 w 678"/>
                <a:gd name="T3" fmla="*/ 7104186 h 574"/>
                <a:gd name="T4" fmla="*/ 121023735 w 678"/>
                <a:gd name="T5" fmla="*/ 17213447 h 574"/>
                <a:gd name="T6" fmla="*/ 123838018 w 678"/>
                <a:gd name="T7" fmla="*/ 24044254 h 574"/>
                <a:gd name="T8" fmla="*/ 127215419 w 678"/>
                <a:gd name="T9" fmla="*/ 25683481 h 574"/>
                <a:gd name="T10" fmla="*/ 127215419 w 678"/>
                <a:gd name="T11" fmla="*/ 34699749 h 574"/>
                <a:gd name="T12" fmla="*/ 127027858 w 678"/>
                <a:gd name="T13" fmla="*/ 39345096 h 574"/>
                <a:gd name="T14" fmla="*/ 125151380 w 678"/>
                <a:gd name="T15" fmla="*/ 43170306 h 574"/>
                <a:gd name="T16" fmla="*/ 121398857 w 678"/>
                <a:gd name="T17" fmla="*/ 48634743 h 574"/>
                <a:gd name="T18" fmla="*/ 119709940 w 678"/>
                <a:gd name="T19" fmla="*/ 94537268 h 574"/>
                <a:gd name="T20" fmla="*/ 86499052 w 678"/>
                <a:gd name="T21" fmla="*/ 106012376 h 574"/>
                <a:gd name="T22" fmla="*/ 86499052 w 678"/>
                <a:gd name="T23" fmla="*/ 113389941 h 574"/>
                <a:gd name="T24" fmla="*/ 85373252 w 678"/>
                <a:gd name="T25" fmla="*/ 118854378 h 574"/>
                <a:gd name="T26" fmla="*/ 83309212 w 678"/>
                <a:gd name="T27" fmla="*/ 118854378 h 574"/>
                <a:gd name="T28" fmla="*/ 81432734 w 678"/>
                <a:gd name="T29" fmla="*/ 120220749 h 574"/>
                <a:gd name="T30" fmla="*/ 79744251 w 678"/>
                <a:gd name="T31" fmla="*/ 121586597 h 574"/>
                <a:gd name="T32" fmla="*/ 77680212 w 678"/>
                <a:gd name="T33" fmla="*/ 122133354 h 574"/>
                <a:gd name="T34" fmla="*/ 77117528 w 678"/>
                <a:gd name="T35" fmla="*/ 126504799 h 574"/>
                <a:gd name="T36" fmla="*/ 76929534 w 678"/>
                <a:gd name="T37" fmla="*/ 129510396 h 574"/>
                <a:gd name="T38" fmla="*/ 75616172 w 678"/>
                <a:gd name="T39" fmla="*/ 131969236 h 574"/>
                <a:gd name="T40" fmla="*/ 68486249 w 678"/>
                <a:gd name="T41" fmla="*/ 136067825 h 574"/>
                <a:gd name="T42" fmla="*/ 61919009 w 678"/>
                <a:gd name="T43" fmla="*/ 140166414 h 574"/>
                <a:gd name="T44" fmla="*/ 58729170 w 678"/>
                <a:gd name="T45" fmla="*/ 143444867 h 574"/>
                <a:gd name="T46" fmla="*/ 51974369 w 678"/>
                <a:gd name="T47" fmla="*/ 154100885 h 574"/>
                <a:gd name="T48" fmla="*/ 48409407 w 678"/>
                <a:gd name="T49" fmla="*/ 156559725 h 574"/>
                <a:gd name="T50" fmla="*/ 44656884 w 678"/>
                <a:gd name="T51" fmla="*/ 156833103 h 574"/>
                <a:gd name="T52" fmla="*/ 36213167 w 678"/>
                <a:gd name="T53" fmla="*/ 156833103 h 574"/>
                <a:gd name="T54" fmla="*/ 34899805 w 678"/>
                <a:gd name="T55" fmla="*/ 152734514 h 574"/>
                <a:gd name="T56" fmla="*/ 30959721 w 678"/>
                <a:gd name="T57" fmla="*/ 149456061 h 574"/>
                <a:gd name="T58" fmla="*/ 24955165 w 678"/>
                <a:gd name="T59" fmla="*/ 148909304 h 574"/>
                <a:gd name="T60" fmla="*/ 17450119 w 678"/>
                <a:gd name="T61" fmla="*/ 151914901 h 574"/>
                <a:gd name="T62" fmla="*/ 6192118 w 678"/>
                <a:gd name="T63" fmla="*/ 143991624 h 574"/>
                <a:gd name="T64" fmla="*/ 0 w 678"/>
                <a:gd name="T65" fmla="*/ 77870056 h 574"/>
                <a:gd name="T66" fmla="*/ 13697163 w 678"/>
                <a:gd name="T67" fmla="*/ 78143434 h 574"/>
                <a:gd name="T68" fmla="*/ 19326164 w 678"/>
                <a:gd name="T69" fmla="*/ 77050442 h 574"/>
                <a:gd name="T70" fmla="*/ 22328442 w 678"/>
                <a:gd name="T71" fmla="*/ 75137837 h 574"/>
                <a:gd name="T72" fmla="*/ 24204920 w 678"/>
                <a:gd name="T73" fmla="*/ 69946256 h 574"/>
                <a:gd name="T74" fmla="*/ 24580043 w 678"/>
                <a:gd name="T75" fmla="*/ 62569214 h 574"/>
                <a:gd name="T76" fmla="*/ 23641804 w 678"/>
                <a:gd name="T77" fmla="*/ 50547348 h 574"/>
                <a:gd name="T78" fmla="*/ 24392481 w 678"/>
                <a:gd name="T79" fmla="*/ 45082911 h 574"/>
                <a:gd name="T80" fmla="*/ 26268526 w 678"/>
                <a:gd name="T81" fmla="*/ 46722138 h 574"/>
                <a:gd name="T82" fmla="*/ 32648205 w 678"/>
                <a:gd name="T83" fmla="*/ 47815130 h 574"/>
                <a:gd name="T84" fmla="*/ 35274928 w 678"/>
                <a:gd name="T85" fmla="*/ 50820727 h 574"/>
                <a:gd name="T86" fmla="*/ 36588722 w 678"/>
                <a:gd name="T87" fmla="*/ 54918793 h 574"/>
                <a:gd name="T88" fmla="*/ 39027884 w 678"/>
                <a:gd name="T89" fmla="*/ 57378156 h 574"/>
                <a:gd name="T90" fmla="*/ 45219568 w 678"/>
                <a:gd name="T91" fmla="*/ 59290761 h 574"/>
                <a:gd name="T92" fmla="*/ 50473446 w 678"/>
                <a:gd name="T93" fmla="*/ 58470625 h 574"/>
                <a:gd name="T94" fmla="*/ 56477570 w 678"/>
                <a:gd name="T95" fmla="*/ 54372559 h 574"/>
                <a:gd name="T96" fmla="*/ 59854970 w 678"/>
                <a:gd name="T97" fmla="*/ 53552946 h 574"/>
                <a:gd name="T98" fmla="*/ 62106570 w 678"/>
                <a:gd name="T99" fmla="*/ 52733332 h 574"/>
                <a:gd name="T100" fmla="*/ 64358171 w 678"/>
                <a:gd name="T101" fmla="*/ 51913196 h 574"/>
                <a:gd name="T102" fmla="*/ 66985327 w 678"/>
                <a:gd name="T103" fmla="*/ 49727735 h 574"/>
                <a:gd name="T104" fmla="*/ 69048933 w 678"/>
                <a:gd name="T105" fmla="*/ 45902525 h 574"/>
                <a:gd name="T106" fmla="*/ 71863650 w 678"/>
                <a:gd name="T107" fmla="*/ 34426894 h 574"/>
                <a:gd name="T108" fmla="*/ 75616172 w 678"/>
                <a:gd name="T109" fmla="*/ 12841479 h 574"/>
                <a:gd name="T110" fmla="*/ 77680212 w 678"/>
                <a:gd name="T111" fmla="*/ 2732218 h 574"/>
                <a:gd name="T112" fmla="*/ 80870051 w 678"/>
                <a:gd name="T113" fmla="*/ 1639227 h 574"/>
                <a:gd name="T114" fmla="*/ 84998129 w 678"/>
                <a:gd name="T115" fmla="*/ 2185984 h 574"/>
                <a:gd name="T116" fmla="*/ 90439136 w 678"/>
                <a:gd name="T117" fmla="*/ 273379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68" name="Freeform 478"/>
            <p:cNvSpPr>
              <a:spLocks/>
            </p:cNvSpPr>
            <p:nvPr>
              <p:custDataLst>
                <p:tags r:id="rId302"/>
              </p:custDataLst>
            </p:nvPr>
          </p:nvSpPr>
          <p:spPr bwMode="auto">
            <a:xfrm>
              <a:off x="4314825" y="4730750"/>
              <a:ext cx="350838"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47569" name="Freeform 479"/>
            <p:cNvSpPr>
              <a:spLocks/>
            </p:cNvSpPr>
            <p:nvPr>
              <p:custDataLst>
                <p:tags r:id="rId303"/>
              </p:custDataLst>
            </p:nvPr>
          </p:nvSpPr>
          <p:spPr bwMode="auto">
            <a:xfrm>
              <a:off x="3594100" y="366077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466" name="Freeform 480"/>
            <p:cNvSpPr>
              <a:spLocks/>
            </p:cNvSpPr>
            <p:nvPr>
              <p:custDataLst>
                <p:tags r:id="rId304"/>
              </p:custDataLst>
            </p:nvPr>
          </p:nvSpPr>
          <p:spPr bwMode="auto">
            <a:xfrm>
              <a:off x="4767263" y="4222750"/>
              <a:ext cx="269875" cy="334963"/>
            </a:xfrm>
            <a:custGeom>
              <a:avLst/>
              <a:gdLst>
                <a:gd name="T0" fmla="*/ 27309274 w 624"/>
                <a:gd name="T1" fmla="*/ 3287338 h 640"/>
                <a:gd name="T2" fmla="*/ 44704967 w 624"/>
                <a:gd name="T3" fmla="*/ 3287338 h 640"/>
                <a:gd name="T4" fmla="*/ 53683068 w 624"/>
                <a:gd name="T5" fmla="*/ 1369681 h 640"/>
                <a:gd name="T6" fmla="*/ 60977910 w 624"/>
                <a:gd name="T7" fmla="*/ 6026176 h 640"/>
                <a:gd name="T8" fmla="*/ 74071605 w 624"/>
                <a:gd name="T9" fmla="*/ 18079051 h 640"/>
                <a:gd name="T10" fmla="*/ 86978031 w 624"/>
                <a:gd name="T11" fmla="*/ 30405652 h 640"/>
                <a:gd name="T12" fmla="*/ 87726242 w 624"/>
                <a:gd name="T13" fmla="*/ 35884374 h 640"/>
                <a:gd name="T14" fmla="*/ 89783607 w 624"/>
                <a:gd name="T15" fmla="*/ 41910550 h 640"/>
                <a:gd name="T16" fmla="*/ 92963720 w 624"/>
                <a:gd name="T17" fmla="*/ 46567045 h 640"/>
                <a:gd name="T18" fmla="*/ 97078449 w 624"/>
                <a:gd name="T19" fmla="*/ 50128110 h 640"/>
                <a:gd name="T20" fmla="*/ 101567716 w 624"/>
                <a:gd name="T21" fmla="*/ 52045768 h 640"/>
                <a:gd name="T22" fmla="*/ 103625513 w 624"/>
                <a:gd name="T23" fmla="*/ 53415448 h 640"/>
                <a:gd name="T24" fmla="*/ 105682877 w 624"/>
                <a:gd name="T25" fmla="*/ 56154809 h 640"/>
                <a:gd name="T26" fmla="*/ 104934666 w 624"/>
                <a:gd name="T27" fmla="*/ 62180985 h 640"/>
                <a:gd name="T28" fmla="*/ 100445399 w 624"/>
                <a:gd name="T29" fmla="*/ 69028864 h 640"/>
                <a:gd name="T30" fmla="*/ 98200766 w 624"/>
                <a:gd name="T31" fmla="*/ 74233336 h 640"/>
                <a:gd name="T32" fmla="*/ 99697188 w 624"/>
                <a:gd name="T33" fmla="*/ 78616628 h 640"/>
                <a:gd name="T34" fmla="*/ 102315927 w 624"/>
                <a:gd name="T35" fmla="*/ 81903443 h 640"/>
                <a:gd name="T36" fmla="*/ 103251407 w 624"/>
                <a:gd name="T37" fmla="*/ 116418137 h 640"/>
                <a:gd name="T38" fmla="*/ 102877301 w 624"/>
                <a:gd name="T39" fmla="*/ 120252928 h 640"/>
                <a:gd name="T40" fmla="*/ 104373724 w 624"/>
                <a:gd name="T41" fmla="*/ 126553354 h 640"/>
                <a:gd name="T42" fmla="*/ 104373724 w 624"/>
                <a:gd name="T43" fmla="*/ 133949210 h 640"/>
                <a:gd name="T44" fmla="*/ 104934666 w 624"/>
                <a:gd name="T45" fmla="*/ 141071340 h 640"/>
                <a:gd name="T46" fmla="*/ 111107192 w 624"/>
                <a:gd name="T47" fmla="*/ 150384854 h 640"/>
                <a:gd name="T48" fmla="*/ 115222353 w 624"/>
                <a:gd name="T49" fmla="*/ 158602413 h 640"/>
                <a:gd name="T50" fmla="*/ 107553405 w 624"/>
                <a:gd name="T51" fmla="*/ 164354862 h 640"/>
                <a:gd name="T52" fmla="*/ 91841403 w 624"/>
                <a:gd name="T53" fmla="*/ 172846673 h 640"/>
                <a:gd name="T54" fmla="*/ 82862870 w 624"/>
                <a:gd name="T55" fmla="*/ 174763807 h 640"/>
                <a:gd name="T56" fmla="*/ 73323394 w 624"/>
                <a:gd name="T57" fmla="*/ 172024446 h 640"/>
                <a:gd name="T58" fmla="*/ 63409813 w 624"/>
                <a:gd name="T59" fmla="*/ 173394126 h 640"/>
                <a:gd name="T60" fmla="*/ 57237287 w 624"/>
                <a:gd name="T61" fmla="*/ 172024446 h 640"/>
                <a:gd name="T62" fmla="*/ 55927701 w 624"/>
                <a:gd name="T63" fmla="*/ 168189654 h 640"/>
                <a:gd name="T64" fmla="*/ 54992654 w 624"/>
                <a:gd name="T65" fmla="*/ 156959006 h 640"/>
                <a:gd name="T66" fmla="*/ 53870337 w 624"/>
                <a:gd name="T67" fmla="*/ 144906131 h 640"/>
                <a:gd name="T68" fmla="*/ 47323273 w 624"/>
                <a:gd name="T69" fmla="*/ 141618793 h 640"/>
                <a:gd name="T70" fmla="*/ 34604116 w 624"/>
                <a:gd name="T71" fmla="*/ 137510275 h 640"/>
                <a:gd name="T72" fmla="*/ 16834318 w 624"/>
                <a:gd name="T73" fmla="*/ 125731650 h 640"/>
                <a:gd name="T74" fmla="*/ 12719157 w 624"/>
                <a:gd name="T75" fmla="*/ 122170586 h 640"/>
                <a:gd name="T76" fmla="*/ 12345051 w 624"/>
                <a:gd name="T77" fmla="*/ 117239840 h 640"/>
                <a:gd name="T78" fmla="*/ 12158215 w 624"/>
                <a:gd name="T79" fmla="*/ 110117711 h 640"/>
                <a:gd name="T80" fmla="*/ 9913581 w 624"/>
                <a:gd name="T81" fmla="*/ 103269831 h 640"/>
                <a:gd name="T82" fmla="*/ 7668948 w 624"/>
                <a:gd name="T83" fmla="*/ 97791109 h 640"/>
                <a:gd name="T84" fmla="*/ 5050209 w 624"/>
                <a:gd name="T85" fmla="*/ 95051748 h 640"/>
                <a:gd name="T86" fmla="*/ 2244633 w 624"/>
                <a:gd name="T87" fmla="*/ 90943230 h 640"/>
                <a:gd name="T88" fmla="*/ 935048 w 624"/>
                <a:gd name="T89" fmla="*/ 84368554 h 640"/>
                <a:gd name="T90" fmla="*/ 0 w 624"/>
                <a:gd name="T91" fmla="*/ 71768225 h 640"/>
                <a:gd name="T92" fmla="*/ 0 w 624"/>
                <a:gd name="T93" fmla="*/ 64098119 h 640"/>
                <a:gd name="T94" fmla="*/ 1870528 w 624"/>
                <a:gd name="T95" fmla="*/ 58071943 h 640"/>
                <a:gd name="T96" fmla="*/ 7108006 w 624"/>
                <a:gd name="T97" fmla="*/ 53415448 h 640"/>
                <a:gd name="T98" fmla="*/ 11410004 w 624"/>
                <a:gd name="T99" fmla="*/ 47388749 h 640"/>
                <a:gd name="T100" fmla="*/ 14402848 w 624"/>
                <a:gd name="T101" fmla="*/ 21092138 h 640"/>
                <a:gd name="T102" fmla="*/ 15712001 w 624"/>
                <a:gd name="T103" fmla="*/ 11778625 h 640"/>
                <a:gd name="T104" fmla="*/ 15337896 w 624"/>
                <a:gd name="T105" fmla="*/ 2191384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571" name="Freeform 481"/>
            <p:cNvSpPr>
              <a:spLocks/>
            </p:cNvSpPr>
            <p:nvPr>
              <p:custDataLst>
                <p:tags r:id="rId305"/>
              </p:custDataLst>
            </p:nvPr>
          </p:nvSpPr>
          <p:spPr bwMode="auto">
            <a:xfrm>
              <a:off x="7331075" y="273685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2" name="Freeform 482"/>
            <p:cNvSpPr>
              <a:spLocks/>
            </p:cNvSpPr>
            <p:nvPr>
              <p:custDataLst>
                <p:tags r:id="rId306"/>
              </p:custDataLst>
            </p:nvPr>
          </p:nvSpPr>
          <p:spPr bwMode="auto">
            <a:xfrm>
              <a:off x="7189788" y="2738438"/>
              <a:ext cx="141287"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3" name="Freeform 483"/>
            <p:cNvSpPr>
              <a:spLocks/>
            </p:cNvSpPr>
            <p:nvPr>
              <p:custDataLst>
                <p:tags r:id="rId307"/>
              </p:custDataLst>
            </p:nvPr>
          </p:nvSpPr>
          <p:spPr bwMode="auto">
            <a:xfrm>
              <a:off x="7159625" y="3092450"/>
              <a:ext cx="52388"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4" name="Freeform 484"/>
            <p:cNvSpPr>
              <a:spLocks/>
            </p:cNvSpPr>
            <p:nvPr>
              <p:custDataLst>
                <p:tags r:id="rId308"/>
              </p:custDataLst>
            </p:nvPr>
          </p:nvSpPr>
          <p:spPr bwMode="auto">
            <a:xfrm>
              <a:off x="7105650" y="310673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5" name="Freeform 485"/>
            <p:cNvSpPr>
              <a:spLocks/>
            </p:cNvSpPr>
            <p:nvPr>
              <p:custDataLst>
                <p:tags r:id="rId309"/>
              </p:custDataLst>
            </p:nvPr>
          </p:nvSpPr>
          <p:spPr bwMode="auto">
            <a:xfrm>
              <a:off x="7121525" y="286861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6" name="Freeform 486"/>
            <p:cNvSpPr>
              <a:spLocks/>
            </p:cNvSpPr>
            <p:nvPr>
              <p:custDataLst>
                <p:tags r:id="rId310"/>
              </p:custDataLst>
            </p:nvPr>
          </p:nvSpPr>
          <p:spPr bwMode="auto">
            <a:xfrm>
              <a:off x="4705350" y="175895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7" name="Freeform 487"/>
            <p:cNvSpPr>
              <a:spLocks/>
            </p:cNvSpPr>
            <p:nvPr>
              <p:custDataLst>
                <p:tags r:id="rId311"/>
              </p:custDataLst>
            </p:nvPr>
          </p:nvSpPr>
          <p:spPr bwMode="auto">
            <a:xfrm>
              <a:off x="4848225" y="174148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8" name="Freeform 488"/>
            <p:cNvSpPr>
              <a:spLocks/>
            </p:cNvSpPr>
            <p:nvPr>
              <p:custDataLst>
                <p:tags r:id="rId312"/>
              </p:custDataLst>
            </p:nvPr>
          </p:nvSpPr>
          <p:spPr bwMode="auto">
            <a:xfrm>
              <a:off x="4884738" y="174942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79" name="Freeform 489"/>
            <p:cNvSpPr>
              <a:spLocks/>
            </p:cNvSpPr>
            <p:nvPr>
              <p:custDataLst>
                <p:tags r:id="rId313"/>
              </p:custDataLst>
            </p:nvPr>
          </p:nvSpPr>
          <p:spPr bwMode="auto">
            <a:xfrm>
              <a:off x="5418138" y="193516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0" name="Freeform 490"/>
            <p:cNvSpPr>
              <a:spLocks/>
            </p:cNvSpPr>
            <p:nvPr>
              <p:custDataLst>
                <p:tags r:id="rId314"/>
              </p:custDataLst>
            </p:nvPr>
          </p:nvSpPr>
          <p:spPr bwMode="auto">
            <a:xfrm>
              <a:off x="5327650" y="179387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1" name="Freeform 491"/>
            <p:cNvSpPr>
              <a:spLocks/>
            </p:cNvSpPr>
            <p:nvPr>
              <p:custDataLst>
                <p:tags r:id="rId315"/>
              </p:custDataLst>
            </p:nvPr>
          </p:nvSpPr>
          <p:spPr bwMode="auto">
            <a:xfrm>
              <a:off x="5349875" y="1752600"/>
              <a:ext cx="14288"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2" name="Freeform 492"/>
            <p:cNvSpPr>
              <a:spLocks/>
            </p:cNvSpPr>
            <p:nvPr>
              <p:custDataLst>
                <p:tags r:id="rId316"/>
              </p:custDataLst>
            </p:nvPr>
          </p:nvSpPr>
          <p:spPr bwMode="auto">
            <a:xfrm>
              <a:off x="5494338" y="1868488"/>
              <a:ext cx="17462"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3" name="Freeform 493"/>
            <p:cNvSpPr>
              <a:spLocks/>
            </p:cNvSpPr>
            <p:nvPr>
              <p:custDataLst>
                <p:tags r:id="rId317"/>
              </p:custDataLst>
            </p:nvPr>
          </p:nvSpPr>
          <p:spPr bwMode="auto">
            <a:xfrm>
              <a:off x="5548313" y="1752600"/>
              <a:ext cx="93662"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4" name="Freeform 494"/>
            <p:cNvSpPr>
              <a:spLocks/>
            </p:cNvSpPr>
            <p:nvPr>
              <p:custDataLst>
                <p:tags r:id="rId318"/>
              </p:custDataLst>
            </p:nvPr>
          </p:nvSpPr>
          <p:spPr bwMode="auto">
            <a:xfrm>
              <a:off x="5608638" y="1778000"/>
              <a:ext cx="103187"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5" name="Freeform 495"/>
            <p:cNvSpPr>
              <a:spLocks/>
            </p:cNvSpPr>
            <p:nvPr>
              <p:custDataLst>
                <p:tags r:id="rId319"/>
              </p:custDataLst>
            </p:nvPr>
          </p:nvSpPr>
          <p:spPr bwMode="auto">
            <a:xfrm>
              <a:off x="5726113" y="179228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6" name="Freeform 496"/>
            <p:cNvSpPr>
              <a:spLocks/>
            </p:cNvSpPr>
            <p:nvPr>
              <p:custDataLst>
                <p:tags r:id="rId320"/>
              </p:custDataLst>
            </p:nvPr>
          </p:nvSpPr>
          <p:spPr bwMode="auto">
            <a:xfrm>
              <a:off x="6253163" y="191770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7" name="Freeform 497"/>
            <p:cNvSpPr>
              <a:spLocks/>
            </p:cNvSpPr>
            <p:nvPr>
              <p:custDataLst>
                <p:tags r:id="rId321"/>
              </p:custDataLst>
            </p:nvPr>
          </p:nvSpPr>
          <p:spPr bwMode="auto">
            <a:xfrm>
              <a:off x="6319838" y="1935163"/>
              <a:ext cx="33337"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8" name="Freeform 498"/>
            <p:cNvSpPr>
              <a:spLocks/>
            </p:cNvSpPr>
            <p:nvPr>
              <p:custDataLst>
                <p:tags r:id="rId322"/>
              </p:custDataLst>
            </p:nvPr>
          </p:nvSpPr>
          <p:spPr bwMode="auto">
            <a:xfrm>
              <a:off x="6350000" y="1946275"/>
              <a:ext cx="52388"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89" name="Freeform 499"/>
            <p:cNvSpPr>
              <a:spLocks/>
            </p:cNvSpPr>
            <p:nvPr>
              <p:custDataLst>
                <p:tags r:id="rId323"/>
              </p:custDataLst>
            </p:nvPr>
          </p:nvSpPr>
          <p:spPr bwMode="auto">
            <a:xfrm>
              <a:off x="6121400" y="1919288"/>
              <a:ext cx="61913"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0" name="Freeform 500"/>
            <p:cNvSpPr>
              <a:spLocks/>
            </p:cNvSpPr>
            <p:nvPr>
              <p:custDataLst>
                <p:tags r:id="rId324"/>
              </p:custDataLst>
            </p:nvPr>
          </p:nvSpPr>
          <p:spPr bwMode="auto">
            <a:xfrm>
              <a:off x="6421438" y="186055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1" name="Freeform 501"/>
            <p:cNvSpPr>
              <a:spLocks/>
            </p:cNvSpPr>
            <p:nvPr>
              <p:custDataLst>
                <p:tags r:id="rId325"/>
              </p:custDataLst>
            </p:nvPr>
          </p:nvSpPr>
          <p:spPr bwMode="auto">
            <a:xfrm>
              <a:off x="6581775" y="186848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2" name="Freeform 502"/>
            <p:cNvSpPr>
              <a:spLocks/>
            </p:cNvSpPr>
            <p:nvPr>
              <p:custDataLst>
                <p:tags r:id="rId326"/>
              </p:custDataLst>
            </p:nvPr>
          </p:nvSpPr>
          <p:spPr bwMode="auto">
            <a:xfrm>
              <a:off x="6542088" y="191611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3" name="Freeform 503"/>
            <p:cNvSpPr>
              <a:spLocks/>
            </p:cNvSpPr>
            <p:nvPr>
              <p:custDataLst>
                <p:tags r:id="rId327"/>
              </p:custDataLst>
            </p:nvPr>
          </p:nvSpPr>
          <p:spPr bwMode="auto">
            <a:xfrm>
              <a:off x="6521450" y="1912938"/>
              <a:ext cx="20638"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4" name="Line 504"/>
            <p:cNvSpPr>
              <a:spLocks noChangeShapeType="1"/>
            </p:cNvSpPr>
            <p:nvPr>
              <p:custDataLst>
                <p:tags r:id="rId328"/>
              </p:custDataLst>
            </p:nvPr>
          </p:nvSpPr>
          <p:spPr bwMode="auto">
            <a:xfrm flipV="1">
              <a:off x="6523038" y="191135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5" name="Freeform 505"/>
            <p:cNvSpPr>
              <a:spLocks/>
            </p:cNvSpPr>
            <p:nvPr>
              <p:custDataLst>
                <p:tags r:id="rId329"/>
              </p:custDataLst>
            </p:nvPr>
          </p:nvSpPr>
          <p:spPr bwMode="auto">
            <a:xfrm>
              <a:off x="5692775" y="1839913"/>
              <a:ext cx="11113"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6" name="Freeform 506"/>
            <p:cNvSpPr>
              <a:spLocks/>
            </p:cNvSpPr>
            <p:nvPr>
              <p:custDataLst>
                <p:tags r:id="rId330"/>
              </p:custDataLst>
            </p:nvPr>
          </p:nvSpPr>
          <p:spPr bwMode="auto">
            <a:xfrm>
              <a:off x="6442075" y="191135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7" name="Freeform 507"/>
            <p:cNvSpPr>
              <a:spLocks/>
            </p:cNvSpPr>
            <p:nvPr>
              <p:custDataLst>
                <p:tags r:id="rId331"/>
              </p:custDataLst>
            </p:nvPr>
          </p:nvSpPr>
          <p:spPr bwMode="auto">
            <a:xfrm>
              <a:off x="6396038" y="187483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8" name="Freeform 508"/>
            <p:cNvSpPr>
              <a:spLocks/>
            </p:cNvSpPr>
            <p:nvPr>
              <p:custDataLst>
                <p:tags r:id="rId332"/>
              </p:custDataLst>
            </p:nvPr>
          </p:nvSpPr>
          <p:spPr bwMode="auto">
            <a:xfrm>
              <a:off x="6896100" y="244475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599" name="Freeform 509"/>
            <p:cNvSpPr>
              <a:spLocks/>
            </p:cNvSpPr>
            <p:nvPr>
              <p:custDataLst>
                <p:tags r:id="rId333"/>
              </p:custDataLst>
            </p:nvPr>
          </p:nvSpPr>
          <p:spPr bwMode="auto">
            <a:xfrm>
              <a:off x="7189788" y="1966913"/>
              <a:ext cx="55562"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0" name="Freeform 510"/>
            <p:cNvSpPr>
              <a:spLocks/>
            </p:cNvSpPr>
            <p:nvPr>
              <p:custDataLst>
                <p:tags r:id="rId334"/>
              </p:custDataLst>
            </p:nvPr>
          </p:nvSpPr>
          <p:spPr bwMode="auto">
            <a:xfrm>
              <a:off x="7326313" y="2319338"/>
              <a:ext cx="14287"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1" name="Freeform 511"/>
            <p:cNvSpPr>
              <a:spLocks/>
            </p:cNvSpPr>
            <p:nvPr>
              <p:custDataLst>
                <p:tags r:id="rId335"/>
              </p:custDataLst>
            </p:nvPr>
          </p:nvSpPr>
          <p:spPr bwMode="auto">
            <a:xfrm>
              <a:off x="7475538" y="2432050"/>
              <a:ext cx="42862"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2" name="Freeform 512"/>
            <p:cNvSpPr>
              <a:spLocks/>
            </p:cNvSpPr>
            <p:nvPr>
              <p:custDataLst>
                <p:tags r:id="rId336"/>
              </p:custDataLst>
            </p:nvPr>
          </p:nvSpPr>
          <p:spPr bwMode="auto">
            <a:xfrm>
              <a:off x="7526338" y="244792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3" name="Freeform 513"/>
            <p:cNvSpPr>
              <a:spLocks/>
            </p:cNvSpPr>
            <p:nvPr>
              <p:custDataLst>
                <p:tags r:id="rId337"/>
              </p:custDataLst>
            </p:nvPr>
          </p:nvSpPr>
          <p:spPr bwMode="auto">
            <a:xfrm>
              <a:off x="7391400" y="2574925"/>
              <a:ext cx="14288"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4" name="Freeform 514"/>
            <p:cNvSpPr>
              <a:spLocks/>
            </p:cNvSpPr>
            <p:nvPr>
              <p:custDataLst>
                <p:tags r:id="rId338"/>
              </p:custDataLst>
            </p:nvPr>
          </p:nvSpPr>
          <p:spPr bwMode="auto">
            <a:xfrm>
              <a:off x="7402513" y="260350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5" name="Freeform 515"/>
            <p:cNvSpPr>
              <a:spLocks/>
            </p:cNvSpPr>
            <p:nvPr>
              <p:custDataLst>
                <p:tags r:id="rId339"/>
              </p:custDataLst>
            </p:nvPr>
          </p:nvSpPr>
          <p:spPr bwMode="auto">
            <a:xfrm>
              <a:off x="7389813" y="268605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6" name="Freeform 516"/>
            <p:cNvSpPr>
              <a:spLocks/>
            </p:cNvSpPr>
            <p:nvPr>
              <p:custDataLst>
                <p:tags r:id="rId340"/>
              </p:custDataLst>
            </p:nvPr>
          </p:nvSpPr>
          <p:spPr bwMode="auto">
            <a:xfrm>
              <a:off x="7367588" y="272097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7" name="Freeform 517"/>
            <p:cNvSpPr>
              <a:spLocks/>
            </p:cNvSpPr>
            <p:nvPr>
              <p:custDataLst>
                <p:tags r:id="rId341"/>
              </p:custDataLst>
            </p:nvPr>
          </p:nvSpPr>
          <p:spPr bwMode="auto">
            <a:xfrm>
              <a:off x="7367588" y="2720975"/>
              <a:ext cx="7937"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8" name="Freeform 518"/>
            <p:cNvSpPr>
              <a:spLocks/>
            </p:cNvSpPr>
            <p:nvPr>
              <p:custDataLst>
                <p:tags r:id="rId342"/>
              </p:custDataLst>
            </p:nvPr>
          </p:nvSpPr>
          <p:spPr bwMode="auto">
            <a:xfrm>
              <a:off x="7121525" y="2308225"/>
              <a:ext cx="17463"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09" name="Freeform 519"/>
            <p:cNvSpPr>
              <a:spLocks/>
            </p:cNvSpPr>
            <p:nvPr>
              <p:custDataLst>
                <p:tags r:id="rId343"/>
              </p:custDataLst>
            </p:nvPr>
          </p:nvSpPr>
          <p:spPr bwMode="auto">
            <a:xfrm>
              <a:off x="4437063" y="244792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0" name="Freeform 520"/>
            <p:cNvSpPr>
              <a:spLocks/>
            </p:cNvSpPr>
            <p:nvPr>
              <p:custDataLst>
                <p:tags r:id="rId344"/>
              </p:custDataLst>
            </p:nvPr>
          </p:nvSpPr>
          <p:spPr bwMode="auto">
            <a:xfrm>
              <a:off x="4886325" y="2039938"/>
              <a:ext cx="42863"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1" name="Freeform 521"/>
            <p:cNvSpPr>
              <a:spLocks/>
            </p:cNvSpPr>
            <p:nvPr>
              <p:custDataLst>
                <p:tags r:id="rId345"/>
              </p:custDataLst>
            </p:nvPr>
          </p:nvSpPr>
          <p:spPr bwMode="auto">
            <a:xfrm>
              <a:off x="4921250" y="185261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2" name="Freeform 522"/>
            <p:cNvSpPr>
              <a:spLocks/>
            </p:cNvSpPr>
            <p:nvPr>
              <p:custDataLst>
                <p:tags r:id="rId346"/>
              </p:custDataLst>
            </p:nvPr>
          </p:nvSpPr>
          <p:spPr bwMode="auto">
            <a:xfrm>
              <a:off x="4713288" y="216376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3" name="Freeform 523"/>
            <p:cNvSpPr>
              <a:spLocks/>
            </p:cNvSpPr>
            <p:nvPr>
              <p:custDataLst>
                <p:tags r:id="rId347"/>
              </p:custDataLst>
            </p:nvPr>
          </p:nvSpPr>
          <p:spPr bwMode="auto">
            <a:xfrm>
              <a:off x="7018338" y="246062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4" name="Freeform 525"/>
            <p:cNvSpPr>
              <a:spLocks/>
            </p:cNvSpPr>
            <p:nvPr/>
          </p:nvSpPr>
          <p:spPr bwMode="auto">
            <a:xfrm>
              <a:off x="6375400" y="2416175"/>
              <a:ext cx="104775" cy="134938"/>
            </a:xfrm>
            <a:custGeom>
              <a:avLst/>
              <a:gdLst>
                <a:gd name="T0" fmla="*/ 2147483647 w 240"/>
                <a:gd name="T1" fmla="*/ 2147483647 h 259"/>
                <a:gd name="T2" fmla="*/ 2147483647 w 240"/>
                <a:gd name="T3" fmla="*/ 2147483647 h 259"/>
                <a:gd name="T4" fmla="*/ 2147483647 w 240"/>
                <a:gd name="T5" fmla="*/ 2147483647 h 259"/>
                <a:gd name="T6" fmla="*/ 2147483647 w 240"/>
                <a:gd name="T7" fmla="*/ 2147483647 h 259"/>
                <a:gd name="T8" fmla="*/ 2147483647 w 240"/>
                <a:gd name="T9" fmla="*/ 2147483647 h 259"/>
                <a:gd name="T10" fmla="*/ 2147483647 w 240"/>
                <a:gd name="T11" fmla="*/ 2147483647 h 259"/>
                <a:gd name="T12" fmla="*/ 2147483647 w 240"/>
                <a:gd name="T13" fmla="*/ 2147483647 h 259"/>
                <a:gd name="T14" fmla="*/ 2147483647 w 240"/>
                <a:gd name="T15" fmla="*/ 0 h 259"/>
                <a:gd name="T16" fmla="*/ 2147483647 w 240"/>
                <a:gd name="T17" fmla="*/ 2147483647 h 259"/>
                <a:gd name="T18" fmla="*/ 2147483647 w 240"/>
                <a:gd name="T19" fmla="*/ 2147483647 h 259"/>
                <a:gd name="T20" fmla="*/ 2147483647 w 240"/>
                <a:gd name="T21" fmla="*/ 2147483647 h 259"/>
                <a:gd name="T22" fmla="*/ 2147483647 w 240"/>
                <a:gd name="T23" fmla="*/ 2147483647 h 259"/>
                <a:gd name="T24" fmla="*/ 2147483647 w 240"/>
                <a:gd name="T25" fmla="*/ 2147483647 h 259"/>
                <a:gd name="T26" fmla="*/ 2147483647 w 240"/>
                <a:gd name="T27" fmla="*/ 2147483647 h 259"/>
                <a:gd name="T28" fmla="*/ 2147483647 w 240"/>
                <a:gd name="T29" fmla="*/ 2147483647 h 259"/>
                <a:gd name="T30" fmla="*/ 0 w 240"/>
                <a:gd name="T31" fmla="*/ 2147483647 h 259"/>
                <a:gd name="T32" fmla="*/ 2147483647 w 240"/>
                <a:gd name="T33" fmla="*/ 214748364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47615" name="Freeform 526"/>
            <p:cNvSpPr>
              <a:spLocks/>
            </p:cNvSpPr>
            <p:nvPr/>
          </p:nvSpPr>
          <p:spPr bwMode="auto">
            <a:xfrm>
              <a:off x="5808663" y="2746375"/>
              <a:ext cx="112712" cy="53975"/>
            </a:xfrm>
            <a:custGeom>
              <a:avLst/>
              <a:gdLst>
                <a:gd name="T0" fmla="*/ 2147483647 w 259"/>
                <a:gd name="T1" fmla="*/ 2147483647 h 104"/>
                <a:gd name="T2" fmla="*/ 2147483647 w 259"/>
                <a:gd name="T3" fmla="*/ 2147483647 h 104"/>
                <a:gd name="T4" fmla="*/ 2147483647 w 259"/>
                <a:gd name="T5" fmla="*/ 2147483647 h 104"/>
                <a:gd name="T6" fmla="*/ 2147483647 w 259"/>
                <a:gd name="T7" fmla="*/ 2147483647 h 104"/>
                <a:gd name="T8" fmla="*/ 2147483647 w 259"/>
                <a:gd name="T9" fmla="*/ 2147483647 h 104"/>
                <a:gd name="T10" fmla="*/ 2147483647 w 259"/>
                <a:gd name="T11" fmla="*/ 2147483647 h 104"/>
                <a:gd name="T12" fmla="*/ 2147483647 w 259"/>
                <a:gd name="T13" fmla="*/ 2147483647 h 104"/>
                <a:gd name="T14" fmla="*/ 2147483647 w 259"/>
                <a:gd name="T15" fmla="*/ 2147483647 h 104"/>
                <a:gd name="T16" fmla="*/ 2147483647 w 259"/>
                <a:gd name="T17" fmla="*/ 0 h 104"/>
                <a:gd name="T18" fmla="*/ 2147483647 w 259"/>
                <a:gd name="T19" fmla="*/ 2147483647 h 104"/>
                <a:gd name="T20" fmla="*/ 2147483647 w 259"/>
                <a:gd name="T21" fmla="*/ 2147483647 h 104"/>
                <a:gd name="T22" fmla="*/ 2147483647 w 259"/>
                <a:gd name="T23" fmla="*/ 2147483647 h 104"/>
                <a:gd name="T24" fmla="*/ 2147483647 w 259"/>
                <a:gd name="T25" fmla="*/ 2147483647 h 104"/>
                <a:gd name="T26" fmla="*/ 2147483647 w 259"/>
                <a:gd name="T27" fmla="*/ 2147483647 h 104"/>
                <a:gd name="T28" fmla="*/ 0 w 259"/>
                <a:gd name="T29" fmla="*/ 2147483647 h 104"/>
                <a:gd name="T30" fmla="*/ 0 w 259"/>
                <a:gd name="T31" fmla="*/ 2147483647 h 104"/>
                <a:gd name="T32" fmla="*/ 2147483647 w 259"/>
                <a:gd name="T33" fmla="*/ 2147483647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sp>
          <p:nvSpPr>
            <p:cNvPr id="47616" name="Freeform 527"/>
            <p:cNvSpPr>
              <a:spLocks/>
            </p:cNvSpPr>
            <p:nvPr>
              <p:custDataLst>
                <p:tags r:id="rId348"/>
              </p:custDataLst>
            </p:nvPr>
          </p:nvSpPr>
          <p:spPr bwMode="auto">
            <a:xfrm>
              <a:off x="4865688" y="316547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7" name="Freeform 528"/>
            <p:cNvSpPr>
              <a:spLocks/>
            </p:cNvSpPr>
            <p:nvPr>
              <p:custDataLst>
                <p:tags r:id="rId349"/>
              </p:custDataLst>
            </p:nvPr>
          </p:nvSpPr>
          <p:spPr bwMode="auto">
            <a:xfrm>
              <a:off x="4340225" y="270986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8" name="Freeform 529"/>
            <p:cNvSpPr>
              <a:spLocks/>
            </p:cNvSpPr>
            <p:nvPr>
              <p:custDataLst>
                <p:tags r:id="rId350"/>
              </p:custDataLst>
            </p:nvPr>
          </p:nvSpPr>
          <p:spPr bwMode="auto">
            <a:xfrm>
              <a:off x="4079875" y="292258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19" name="Freeform 530"/>
            <p:cNvSpPr>
              <a:spLocks/>
            </p:cNvSpPr>
            <p:nvPr>
              <p:custDataLst>
                <p:tags r:id="rId351"/>
              </p:custDataLst>
            </p:nvPr>
          </p:nvSpPr>
          <p:spPr bwMode="auto">
            <a:xfrm>
              <a:off x="3671888" y="326866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0" name="Freeform 531"/>
            <p:cNvSpPr>
              <a:spLocks/>
            </p:cNvSpPr>
            <p:nvPr>
              <p:custDataLst>
                <p:tags r:id="rId352"/>
              </p:custDataLst>
            </p:nvPr>
          </p:nvSpPr>
          <p:spPr bwMode="auto">
            <a:xfrm>
              <a:off x="3613150" y="3284538"/>
              <a:ext cx="23813"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1" name="Freeform 532"/>
            <p:cNvSpPr>
              <a:spLocks/>
            </p:cNvSpPr>
            <p:nvPr>
              <p:custDataLst>
                <p:tags r:id="rId353"/>
              </p:custDataLst>
            </p:nvPr>
          </p:nvSpPr>
          <p:spPr bwMode="auto">
            <a:xfrm>
              <a:off x="3587750" y="327818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2" name="Freeform 533"/>
            <p:cNvSpPr>
              <a:spLocks/>
            </p:cNvSpPr>
            <p:nvPr>
              <p:custDataLst>
                <p:tags r:id="rId354"/>
              </p:custDataLst>
            </p:nvPr>
          </p:nvSpPr>
          <p:spPr bwMode="auto">
            <a:xfrm>
              <a:off x="4859338" y="300672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47623" name="Freeform 534"/>
            <p:cNvSpPr>
              <a:spLocks/>
            </p:cNvSpPr>
            <p:nvPr>
              <p:custDataLst>
                <p:tags r:id="rId355"/>
              </p:custDataLst>
            </p:nvPr>
          </p:nvSpPr>
          <p:spPr bwMode="auto">
            <a:xfrm>
              <a:off x="6953250" y="3387725"/>
              <a:ext cx="42863"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a:p>
          </p:txBody>
        </p:sp>
        <p:sp>
          <p:nvSpPr>
            <p:cNvPr id="47624" name="Freeform 536"/>
            <p:cNvSpPr>
              <a:spLocks/>
            </p:cNvSpPr>
            <p:nvPr/>
          </p:nvSpPr>
          <p:spPr bwMode="auto">
            <a:xfrm>
              <a:off x="4600575" y="2921000"/>
              <a:ext cx="4763" cy="4763"/>
            </a:xfrm>
            <a:custGeom>
              <a:avLst/>
              <a:gdLst>
                <a:gd name="T0" fmla="*/ 2147483647 w 13"/>
                <a:gd name="T1" fmla="*/ 0 h 7"/>
                <a:gd name="T2" fmla="*/ 2147483647 w 13"/>
                <a:gd name="T3" fmla="*/ 2147483647 h 7"/>
                <a:gd name="T4" fmla="*/ 2147483647 w 13"/>
                <a:gd name="T5" fmla="*/ 2147483647 h 7"/>
                <a:gd name="T6" fmla="*/ 2147483647 w 13"/>
                <a:gd name="T7" fmla="*/ 2147483647 h 7"/>
                <a:gd name="T8" fmla="*/ 0 w 13"/>
                <a:gd name="T9" fmla="*/ 2147483647 h 7"/>
                <a:gd name="T10" fmla="*/ 2147483647 w 13"/>
                <a:gd name="T11" fmla="*/ 2147483647 h 7"/>
                <a:gd name="T12" fmla="*/ 2147483647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5" name="Freeform 537"/>
            <p:cNvSpPr>
              <a:spLocks/>
            </p:cNvSpPr>
            <p:nvPr/>
          </p:nvSpPr>
          <p:spPr bwMode="auto">
            <a:xfrm>
              <a:off x="4646613" y="3024188"/>
              <a:ext cx="14287" cy="4762"/>
            </a:xfrm>
            <a:custGeom>
              <a:avLst/>
              <a:gdLst>
                <a:gd name="T0" fmla="*/ 0 w 34"/>
                <a:gd name="T1" fmla="*/ 2147483647 h 8"/>
                <a:gd name="T2" fmla="*/ 2147483647 w 34"/>
                <a:gd name="T3" fmla="*/ 2147483647 h 8"/>
                <a:gd name="T4" fmla="*/ 2147483647 w 34"/>
                <a:gd name="T5" fmla="*/ 2147483647 h 8"/>
                <a:gd name="T6" fmla="*/ 2147483647 w 34"/>
                <a:gd name="T7" fmla="*/ 2147483647 h 8"/>
                <a:gd name="T8" fmla="*/ 2147483647 w 34"/>
                <a:gd name="T9" fmla="*/ 0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2147483647 w 34"/>
                <a:gd name="T21" fmla="*/ 2147483647 h 8"/>
                <a:gd name="T22" fmla="*/ 2147483647 w 34"/>
                <a:gd name="T23" fmla="*/ 2147483647 h 8"/>
                <a:gd name="T24" fmla="*/ 0 w 3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6" name="Freeform 538"/>
            <p:cNvSpPr>
              <a:spLocks/>
            </p:cNvSpPr>
            <p:nvPr/>
          </p:nvSpPr>
          <p:spPr bwMode="auto">
            <a:xfrm>
              <a:off x="4672013" y="3041650"/>
              <a:ext cx="6350" cy="12700"/>
            </a:xfrm>
            <a:custGeom>
              <a:avLst/>
              <a:gdLst>
                <a:gd name="T0" fmla="*/ 0 w 13"/>
                <a:gd name="T1" fmla="*/ 2147483647 h 24"/>
                <a:gd name="T2" fmla="*/ 0 w 13"/>
                <a:gd name="T3" fmla="*/ 0 h 24"/>
                <a:gd name="T4" fmla="*/ 2147483647 w 13"/>
                <a:gd name="T5" fmla="*/ 2147483647 h 24"/>
                <a:gd name="T6" fmla="*/ 0 w 13"/>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7" name="Freeform 539"/>
            <p:cNvSpPr>
              <a:spLocks/>
            </p:cNvSpPr>
            <p:nvPr/>
          </p:nvSpPr>
          <p:spPr bwMode="auto">
            <a:xfrm>
              <a:off x="4632325" y="2862263"/>
              <a:ext cx="46038" cy="36512"/>
            </a:xfrm>
            <a:custGeom>
              <a:avLst/>
              <a:gdLst>
                <a:gd name="T0" fmla="*/ 0 w 107"/>
                <a:gd name="T1" fmla="*/ 2147483647 h 69"/>
                <a:gd name="T2" fmla="*/ 0 w 107"/>
                <a:gd name="T3" fmla="*/ 2147483647 h 69"/>
                <a:gd name="T4" fmla="*/ 0 w 107"/>
                <a:gd name="T5" fmla="*/ 2147483647 h 69"/>
                <a:gd name="T6" fmla="*/ 0 w 107"/>
                <a:gd name="T7" fmla="*/ 2147483647 h 69"/>
                <a:gd name="T8" fmla="*/ 0 w 107"/>
                <a:gd name="T9" fmla="*/ 2147483647 h 69"/>
                <a:gd name="T10" fmla="*/ 2147483647 w 107"/>
                <a:gd name="T11" fmla="*/ 2147483647 h 69"/>
                <a:gd name="T12" fmla="*/ 2147483647 w 107"/>
                <a:gd name="T13" fmla="*/ 2147483647 h 69"/>
                <a:gd name="T14" fmla="*/ 2147483647 w 107"/>
                <a:gd name="T15" fmla="*/ 2147483647 h 69"/>
                <a:gd name="T16" fmla="*/ 2147483647 w 107"/>
                <a:gd name="T17" fmla="*/ 2147483647 h 69"/>
                <a:gd name="T18" fmla="*/ 2147483647 w 107"/>
                <a:gd name="T19" fmla="*/ 2147483647 h 69"/>
                <a:gd name="T20" fmla="*/ 2147483647 w 107"/>
                <a:gd name="T21" fmla="*/ 2147483647 h 69"/>
                <a:gd name="T22" fmla="*/ 2147483647 w 107"/>
                <a:gd name="T23" fmla="*/ 2147483647 h 69"/>
                <a:gd name="T24" fmla="*/ 2147483647 w 107"/>
                <a:gd name="T25" fmla="*/ 2147483647 h 69"/>
                <a:gd name="T26" fmla="*/ 2147483647 w 107"/>
                <a:gd name="T27" fmla="*/ 2147483647 h 69"/>
                <a:gd name="T28" fmla="*/ 2147483647 w 107"/>
                <a:gd name="T29" fmla="*/ 2147483647 h 69"/>
                <a:gd name="T30" fmla="*/ 2147483647 w 107"/>
                <a:gd name="T31" fmla="*/ 2147483647 h 69"/>
                <a:gd name="T32" fmla="*/ 2147483647 w 107"/>
                <a:gd name="T33" fmla="*/ 2147483647 h 69"/>
                <a:gd name="T34" fmla="*/ 2147483647 w 107"/>
                <a:gd name="T35" fmla="*/ 2147483647 h 69"/>
                <a:gd name="T36" fmla="*/ 2147483647 w 107"/>
                <a:gd name="T37" fmla="*/ 0 h 69"/>
                <a:gd name="T38" fmla="*/ 2147483647 w 107"/>
                <a:gd name="T39" fmla="*/ 2147483647 h 69"/>
                <a:gd name="T40" fmla="*/ 2147483647 w 107"/>
                <a:gd name="T41" fmla="*/ 2147483647 h 69"/>
                <a:gd name="T42" fmla="*/ 2147483647 w 107"/>
                <a:gd name="T43" fmla="*/ 2147483647 h 69"/>
                <a:gd name="T44" fmla="*/ 0 w 107"/>
                <a:gd name="T45" fmla="*/ 2147483647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8" name="Freeform 540"/>
            <p:cNvSpPr>
              <a:spLocks/>
            </p:cNvSpPr>
            <p:nvPr/>
          </p:nvSpPr>
          <p:spPr bwMode="auto">
            <a:xfrm>
              <a:off x="4618038" y="2855913"/>
              <a:ext cx="465137" cy="201612"/>
            </a:xfrm>
            <a:custGeom>
              <a:avLst/>
              <a:gdLst>
                <a:gd name="T0" fmla="*/ 2147483647 w 1070"/>
                <a:gd name="T1" fmla="*/ 2147483647 h 382"/>
                <a:gd name="T2" fmla="*/ 2147483647 w 1070"/>
                <a:gd name="T3" fmla="*/ 2147483647 h 382"/>
                <a:gd name="T4" fmla="*/ 2147483647 w 1070"/>
                <a:gd name="T5" fmla="*/ 2147483647 h 382"/>
                <a:gd name="T6" fmla="*/ 2147483647 w 1070"/>
                <a:gd name="T7" fmla="*/ 2147483647 h 382"/>
                <a:gd name="T8" fmla="*/ 2147483647 w 1070"/>
                <a:gd name="T9" fmla="*/ 2147483647 h 382"/>
                <a:gd name="T10" fmla="*/ 2147483647 w 1070"/>
                <a:gd name="T11" fmla="*/ 2147483647 h 382"/>
                <a:gd name="T12" fmla="*/ 2147483647 w 1070"/>
                <a:gd name="T13" fmla="*/ 2147483647 h 382"/>
                <a:gd name="T14" fmla="*/ 2147483647 w 1070"/>
                <a:gd name="T15" fmla="*/ 2147483647 h 382"/>
                <a:gd name="T16" fmla="*/ 2147483647 w 1070"/>
                <a:gd name="T17" fmla="*/ 2147483647 h 382"/>
                <a:gd name="T18" fmla="*/ 2147483647 w 1070"/>
                <a:gd name="T19" fmla="*/ 2147483647 h 382"/>
                <a:gd name="T20" fmla="*/ 2147483647 w 1070"/>
                <a:gd name="T21" fmla="*/ 2147483647 h 382"/>
                <a:gd name="T22" fmla="*/ 2147483647 w 1070"/>
                <a:gd name="T23" fmla="*/ 2147483647 h 382"/>
                <a:gd name="T24" fmla="*/ 2147483647 w 1070"/>
                <a:gd name="T25" fmla="*/ 0 h 382"/>
                <a:gd name="T26" fmla="*/ 2147483647 w 1070"/>
                <a:gd name="T27" fmla="*/ 2147483647 h 382"/>
                <a:gd name="T28" fmla="*/ 2147483647 w 1070"/>
                <a:gd name="T29" fmla="*/ 2147483647 h 382"/>
                <a:gd name="T30" fmla="*/ 2147483647 w 1070"/>
                <a:gd name="T31" fmla="*/ 2147483647 h 382"/>
                <a:gd name="T32" fmla="*/ 2147483647 w 1070"/>
                <a:gd name="T33" fmla="*/ 2147483647 h 382"/>
                <a:gd name="T34" fmla="*/ 2147483647 w 1070"/>
                <a:gd name="T35" fmla="*/ 2147483647 h 382"/>
                <a:gd name="T36" fmla="*/ 2147483647 w 1070"/>
                <a:gd name="T37" fmla="*/ 2147483647 h 382"/>
                <a:gd name="T38" fmla="*/ 2147483647 w 1070"/>
                <a:gd name="T39" fmla="*/ 2147483647 h 382"/>
                <a:gd name="T40" fmla="*/ 2147483647 w 1070"/>
                <a:gd name="T41" fmla="*/ 2147483647 h 382"/>
                <a:gd name="T42" fmla="*/ 2147483647 w 1070"/>
                <a:gd name="T43" fmla="*/ 2147483647 h 382"/>
                <a:gd name="T44" fmla="*/ 0 w 1070"/>
                <a:gd name="T45" fmla="*/ 2147483647 h 382"/>
                <a:gd name="T46" fmla="*/ 2147483647 w 1070"/>
                <a:gd name="T47" fmla="*/ 2147483647 h 382"/>
                <a:gd name="T48" fmla="*/ 2147483647 w 1070"/>
                <a:gd name="T49" fmla="*/ 2147483647 h 382"/>
                <a:gd name="T50" fmla="*/ 2147483647 w 1070"/>
                <a:gd name="T51" fmla="*/ 2147483647 h 382"/>
                <a:gd name="T52" fmla="*/ 2147483647 w 1070"/>
                <a:gd name="T53" fmla="*/ 2147483647 h 382"/>
                <a:gd name="T54" fmla="*/ 2147483647 w 1070"/>
                <a:gd name="T55" fmla="*/ 2147483647 h 382"/>
                <a:gd name="T56" fmla="*/ 2147483647 w 1070"/>
                <a:gd name="T57" fmla="*/ 2147483647 h 382"/>
                <a:gd name="T58" fmla="*/ 2147483647 w 1070"/>
                <a:gd name="T59" fmla="*/ 2147483647 h 382"/>
                <a:gd name="T60" fmla="*/ 2147483647 w 1070"/>
                <a:gd name="T61" fmla="*/ 2147483647 h 382"/>
                <a:gd name="T62" fmla="*/ 2147483647 w 1070"/>
                <a:gd name="T63" fmla="*/ 2147483647 h 382"/>
                <a:gd name="T64" fmla="*/ 2147483647 w 1070"/>
                <a:gd name="T65" fmla="*/ 2147483647 h 382"/>
                <a:gd name="T66" fmla="*/ 2147483647 w 1070"/>
                <a:gd name="T67" fmla="*/ 2147483647 h 382"/>
                <a:gd name="T68" fmla="*/ 2147483647 w 1070"/>
                <a:gd name="T69" fmla="*/ 2147483647 h 382"/>
                <a:gd name="T70" fmla="*/ 2147483647 w 1070"/>
                <a:gd name="T71" fmla="*/ 2147483647 h 382"/>
                <a:gd name="T72" fmla="*/ 2147483647 w 1070"/>
                <a:gd name="T73" fmla="*/ 2147483647 h 382"/>
                <a:gd name="T74" fmla="*/ 2147483647 w 1070"/>
                <a:gd name="T75" fmla="*/ 2147483647 h 382"/>
                <a:gd name="T76" fmla="*/ 2147483647 w 1070"/>
                <a:gd name="T77" fmla="*/ 2147483647 h 382"/>
                <a:gd name="T78" fmla="*/ 2147483647 w 1070"/>
                <a:gd name="T79" fmla="*/ 2147483647 h 382"/>
                <a:gd name="T80" fmla="*/ 2147483647 w 1070"/>
                <a:gd name="T81" fmla="*/ 2147483647 h 382"/>
                <a:gd name="T82" fmla="*/ 2147483647 w 1070"/>
                <a:gd name="T83" fmla="*/ 2147483647 h 382"/>
                <a:gd name="T84" fmla="*/ 2147483647 w 1070"/>
                <a:gd name="T85" fmla="*/ 2147483647 h 382"/>
                <a:gd name="T86" fmla="*/ 2147483647 w 1070"/>
                <a:gd name="T87" fmla="*/ 2147483647 h 382"/>
                <a:gd name="T88" fmla="*/ 2147483647 w 1070"/>
                <a:gd name="T89" fmla="*/ 2147483647 h 382"/>
                <a:gd name="T90" fmla="*/ 2147483647 w 1070"/>
                <a:gd name="T91" fmla="*/ 2147483647 h 382"/>
                <a:gd name="T92" fmla="*/ 2147483647 w 1070"/>
                <a:gd name="T93" fmla="*/ 2147483647 h 382"/>
                <a:gd name="T94" fmla="*/ 2147483647 w 1070"/>
                <a:gd name="T95" fmla="*/ 2147483647 h 382"/>
                <a:gd name="T96" fmla="*/ 2147483647 w 1070"/>
                <a:gd name="T97" fmla="*/ 2147483647 h 382"/>
                <a:gd name="T98" fmla="*/ 2147483647 w 1070"/>
                <a:gd name="T99" fmla="*/ 2147483647 h 382"/>
                <a:gd name="T100" fmla="*/ 2147483647 w 1070"/>
                <a:gd name="T101" fmla="*/ 2147483647 h 382"/>
                <a:gd name="T102" fmla="*/ 2147483647 w 1070"/>
                <a:gd name="T103" fmla="*/ 2147483647 h 382"/>
                <a:gd name="T104" fmla="*/ 2147483647 w 1070"/>
                <a:gd name="T105" fmla="*/ 2147483647 h 382"/>
                <a:gd name="T106" fmla="*/ 2147483647 w 1070"/>
                <a:gd name="T107" fmla="*/ 2147483647 h 382"/>
                <a:gd name="T108" fmla="*/ 2147483647 w 1070"/>
                <a:gd name="T109" fmla="*/ 2147483647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29" name="Freeform 541"/>
            <p:cNvSpPr>
              <a:spLocks/>
            </p:cNvSpPr>
            <p:nvPr>
              <p:custDataLst>
                <p:tags r:id="rId356"/>
              </p:custDataLst>
            </p:nvPr>
          </p:nvSpPr>
          <p:spPr bwMode="auto">
            <a:xfrm>
              <a:off x="2589213" y="4008438"/>
              <a:ext cx="100012"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6" name="Freeform 542"/>
            <p:cNvSpPr>
              <a:spLocks/>
            </p:cNvSpPr>
            <p:nvPr>
              <p:custDataLst>
                <p:tags r:id="rId357"/>
              </p:custDataLst>
            </p:nvPr>
          </p:nvSpPr>
          <p:spPr bwMode="auto">
            <a:xfrm>
              <a:off x="6534150" y="3444875"/>
              <a:ext cx="207963" cy="458788"/>
            </a:xfrm>
            <a:custGeom>
              <a:avLst/>
              <a:gdLst>
                <a:gd name="T0" fmla="*/ 54324199 w 478"/>
                <a:gd name="T1" fmla="*/ 29966394 h 875"/>
                <a:gd name="T2" fmla="*/ 47320926 w 478"/>
                <a:gd name="T3" fmla="*/ 37938801 h 875"/>
                <a:gd name="T4" fmla="*/ 37667226 w 478"/>
                <a:gd name="T5" fmla="*/ 54159412 h 875"/>
                <a:gd name="T6" fmla="*/ 37477972 w 478"/>
                <a:gd name="T7" fmla="*/ 58558000 h 875"/>
                <a:gd name="T8" fmla="*/ 38992440 w 478"/>
                <a:gd name="T9" fmla="*/ 65705639 h 875"/>
                <a:gd name="T10" fmla="*/ 41831687 w 478"/>
                <a:gd name="T11" fmla="*/ 72853803 h 875"/>
                <a:gd name="T12" fmla="*/ 45427950 w 478"/>
                <a:gd name="T13" fmla="*/ 79176674 h 875"/>
                <a:gd name="T14" fmla="*/ 49024214 w 478"/>
                <a:gd name="T15" fmla="*/ 82751018 h 875"/>
                <a:gd name="T16" fmla="*/ 52810166 w 478"/>
                <a:gd name="T17" fmla="*/ 90448677 h 875"/>
                <a:gd name="T18" fmla="*/ 55838667 w 478"/>
                <a:gd name="T19" fmla="*/ 99245852 h 875"/>
                <a:gd name="T20" fmla="*/ 57731208 w 478"/>
                <a:gd name="T21" fmla="*/ 101445408 h 875"/>
                <a:gd name="T22" fmla="*/ 82905922 w 478"/>
                <a:gd name="T23" fmla="*/ 137185178 h 875"/>
                <a:gd name="T24" fmla="*/ 89152613 w 478"/>
                <a:gd name="T25" fmla="*/ 161927692 h 875"/>
                <a:gd name="T26" fmla="*/ 90477392 w 478"/>
                <a:gd name="T27" fmla="*/ 177873031 h 875"/>
                <a:gd name="T28" fmla="*/ 90098884 w 478"/>
                <a:gd name="T29" fmla="*/ 188869762 h 875"/>
                <a:gd name="T30" fmla="*/ 90477392 w 478"/>
                <a:gd name="T31" fmla="*/ 194643137 h 875"/>
                <a:gd name="T32" fmla="*/ 84609644 w 478"/>
                <a:gd name="T33" fmla="*/ 197392714 h 875"/>
                <a:gd name="T34" fmla="*/ 79498913 w 478"/>
                <a:gd name="T35" fmla="*/ 201516029 h 875"/>
                <a:gd name="T36" fmla="*/ 74009673 w 478"/>
                <a:gd name="T37" fmla="*/ 207839425 h 875"/>
                <a:gd name="T38" fmla="*/ 69088196 w 478"/>
                <a:gd name="T39" fmla="*/ 216911872 h 875"/>
                <a:gd name="T40" fmla="*/ 65870441 w 478"/>
                <a:gd name="T41" fmla="*/ 215811832 h 875"/>
                <a:gd name="T42" fmla="*/ 60381201 w 478"/>
                <a:gd name="T43" fmla="*/ 216911872 h 875"/>
                <a:gd name="T44" fmla="*/ 59245676 w 478"/>
                <a:gd name="T45" fmla="*/ 221035712 h 875"/>
                <a:gd name="T46" fmla="*/ 54702707 w 478"/>
                <a:gd name="T47" fmla="*/ 230382907 h 875"/>
                <a:gd name="T48" fmla="*/ 48456451 w 478"/>
                <a:gd name="T49" fmla="*/ 238630586 h 875"/>
                <a:gd name="T50" fmla="*/ 45238696 w 478"/>
                <a:gd name="T51" fmla="*/ 240554870 h 875"/>
                <a:gd name="T52" fmla="*/ 43913917 w 478"/>
                <a:gd name="T53" fmla="*/ 238630586 h 875"/>
                <a:gd name="T54" fmla="*/ 42588703 w 478"/>
                <a:gd name="T55" fmla="*/ 232032443 h 875"/>
                <a:gd name="T56" fmla="*/ 43724228 w 478"/>
                <a:gd name="T57" fmla="*/ 219935672 h 875"/>
                <a:gd name="T58" fmla="*/ 47888689 w 478"/>
                <a:gd name="T59" fmla="*/ 213062780 h 875"/>
                <a:gd name="T60" fmla="*/ 52431658 w 478"/>
                <a:gd name="T61" fmla="*/ 208938940 h 875"/>
                <a:gd name="T62" fmla="*/ 55838667 w 478"/>
                <a:gd name="T63" fmla="*/ 207014657 h 875"/>
                <a:gd name="T64" fmla="*/ 57731208 w 478"/>
                <a:gd name="T65" fmla="*/ 204265605 h 875"/>
                <a:gd name="T66" fmla="*/ 59434931 w 478"/>
                <a:gd name="T67" fmla="*/ 196292673 h 875"/>
                <a:gd name="T68" fmla="*/ 62463432 w 478"/>
                <a:gd name="T69" fmla="*/ 188595014 h 875"/>
                <a:gd name="T70" fmla="*/ 69088196 w 478"/>
                <a:gd name="T71" fmla="*/ 176773515 h 875"/>
                <a:gd name="T72" fmla="*/ 70224156 w 478"/>
                <a:gd name="T73" fmla="*/ 147357141 h 875"/>
                <a:gd name="T74" fmla="*/ 68898942 w 478"/>
                <a:gd name="T75" fmla="*/ 130587034 h 875"/>
                <a:gd name="T76" fmla="*/ 64545662 w 478"/>
                <a:gd name="T77" fmla="*/ 117390747 h 875"/>
                <a:gd name="T78" fmla="*/ 56217175 w 478"/>
                <a:gd name="T79" fmla="*/ 103644964 h 875"/>
                <a:gd name="T80" fmla="*/ 41453179 w 478"/>
                <a:gd name="T81" fmla="*/ 84675302 h 875"/>
                <a:gd name="T82" fmla="*/ 30474699 w 478"/>
                <a:gd name="T83" fmla="*/ 70104751 h 875"/>
                <a:gd name="T84" fmla="*/ 20442491 w 478"/>
                <a:gd name="T85" fmla="*/ 54434160 h 875"/>
                <a:gd name="T86" fmla="*/ 13628472 w 478"/>
                <a:gd name="T87" fmla="*/ 40138357 h 875"/>
                <a:gd name="T88" fmla="*/ 7949978 w 478"/>
                <a:gd name="T89" fmla="*/ 28591606 h 875"/>
                <a:gd name="T90" fmla="*/ 8706995 w 478"/>
                <a:gd name="T91" fmla="*/ 11271479 h 875"/>
                <a:gd name="T92" fmla="*/ 24417697 w 478"/>
                <a:gd name="T93" fmla="*/ 5223356 h 875"/>
                <a:gd name="T94" fmla="*/ 28013961 w 478"/>
                <a:gd name="T95" fmla="*/ 1374788 h 875"/>
                <a:gd name="T96" fmla="*/ 33124692 w 478"/>
                <a:gd name="T97" fmla="*/ 4398588 h 875"/>
                <a:gd name="T98" fmla="*/ 41831687 w 478"/>
                <a:gd name="T99" fmla="*/ 9621943 h 875"/>
                <a:gd name="T100" fmla="*/ 50917190 w 478"/>
                <a:gd name="T101" fmla="*/ 1841964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accent1">
                <a:lumMod val="60000"/>
                <a:lumOff val="40000"/>
              </a:schemeClr>
            </a:solidFill>
            <a:ln w="9525" cmpd="sng">
              <a:solidFill>
                <a:srgbClr val="FFFFFF"/>
              </a:solidFill>
              <a:prstDash val="solid"/>
              <a:round/>
              <a:headEnd/>
              <a:tailEnd/>
            </a:ln>
          </p:spPr>
          <p:txBody>
            <a:bodyPr/>
            <a:lstStyle/>
            <a:p>
              <a:pPr>
                <a:defRPr/>
              </a:pPr>
              <a:endParaRPr lang="en-GB" dirty="0">
                <a:solidFill>
                  <a:srgbClr val="000000"/>
                </a:solidFill>
                <a:latin typeface="Arial" charset="0"/>
                <a:cs typeface="Arial" charset="0"/>
              </a:endParaRPr>
            </a:p>
          </p:txBody>
        </p:sp>
        <p:sp>
          <p:nvSpPr>
            <p:cNvPr id="47631" name="Freeform 543"/>
            <p:cNvSpPr>
              <a:spLocks/>
            </p:cNvSpPr>
            <p:nvPr>
              <p:custDataLst>
                <p:tags r:id="rId358"/>
              </p:custDataLst>
            </p:nvPr>
          </p:nvSpPr>
          <p:spPr bwMode="auto">
            <a:xfrm>
              <a:off x="6621463" y="413067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47632" name="Freeform 544"/>
            <p:cNvSpPr>
              <a:spLocks/>
            </p:cNvSpPr>
            <p:nvPr>
              <p:custDataLst>
                <p:tags r:id="rId359"/>
              </p:custDataLst>
            </p:nvPr>
          </p:nvSpPr>
          <p:spPr bwMode="auto">
            <a:xfrm>
              <a:off x="5313363" y="338931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3" name="Freeform 545"/>
            <p:cNvSpPr>
              <a:spLocks/>
            </p:cNvSpPr>
            <p:nvPr>
              <p:custDataLst>
                <p:tags r:id="rId360"/>
              </p:custDataLst>
            </p:nvPr>
          </p:nvSpPr>
          <p:spPr bwMode="auto">
            <a:xfrm>
              <a:off x="4040188" y="3443288"/>
              <a:ext cx="376237"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47634" name="Freeform 546"/>
            <p:cNvSpPr>
              <a:spLocks/>
            </p:cNvSpPr>
            <p:nvPr>
              <p:custDataLst>
                <p:tags r:id="rId361"/>
              </p:custDataLst>
            </p:nvPr>
          </p:nvSpPr>
          <p:spPr bwMode="auto">
            <a:xfrm>
              <a:off x="3709988" y="3060700"/>
              <a:ext cx="300037"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5" name="Freeform 547"/>
            <p:cNvSpPr>
              <a:spLocks/>
            </p:cNvSpPr>
            <p:nvPr>
              <p:custDataLst>
                <p:tags r:id="rId362"/>
              </p:custDataLst>
            </p:nvPr>
          </p:nvSpPr>
          <p:spPr bwMode="auto">
            <a:xfrm>
              <a:off x="4410075" y="1990725"/>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6" name="Freeform 548"/>
            <p:cNvSpPr>
              <a:spLocks/>
            </p:cNvSpPr>
            <p:nvPr>
              <p:custDataLst>
                <p:tags r:id="rId363"/>
              </p:custDataLst>
            </p:nvPr>
          </p:nvSpPr>
          <p:spPr bwMode="auto">
            <a:xfrm>
              <a:off x="4921250" y="197485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7" name="Freeform 549"/>
            <p:cNvSpPr>
              <a:spLocks/>
            </p:cNvSpPr>
            <p:nvPr>
              <p:custDataLst>
                <p:tags r:id="rId364"/>
              </p:custDataLst>
            </p:nvPr>
          </p:nvSpPr>
          <p:spPr bwMode="auto">
            <a:xfrm>
              <a:off x="5064125" y="195738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8" name="Freeform 550"/>
            <p:cNvSpPr>
              <a:spLocks/>
            </p:cNvSpPr>
            <p:nvPr>
              <p:custDataLst>
                <p:tags r:id="rId365"/>
              </p:custDataLst>
            </p:nvPr>
          </p:nvSpPr>
          <p:spPr bwMode="auto">
            <a:xfrm>
              <a:off x="5100638" y="196532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639" name="Text Box 551"/>
            <p:cNvSpPr txBox="1">
              <a:spLocks noChangeArrowheads="1"/>
            </p:cNvSpPr>
            <p:nvPr/>
          </p:nvSpPr>
          <p:spPr bwMode="auto">
            <a:xfrm>
              <a:off x="5302250" y="3146425"/>
              <a:ext cx="9350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Afghanistan</a:t>
              </a:r>
            </a:p>
          </p:txBody>
        </p:sp>
        <p:sp>
          <p:nvSpPr>
            <p:cNvPr id="47640" name="Text Box 552"/>
            <p:cNvSpPr txBox="1">
              <a:spLocks noChangeArrowheads="1"/>
            </p:cNvSpPr>
            <p:nvPr/>
          </p:nvSpPr>
          <p:spPr bwMode="auto">
            <a:xfrm>
              <a:off x="7451725" y="3362325"/>
              <a:ext cx="5048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Burma</a:t>
              </a:r>
            </a:p>
          </p:txBody>
        </p:sp>
        <p:sp>
          <p:nvSpPr>
            <p:cNvPr id="47641" name="Text Box 553"/>
            <p:cNvSpPr txBox="1">
              <a:spLocks noChangeArrowheads="1"/>
            </p:cNvSpPr>
            <p:nvPr/>
          </p:nvSpPr>
          <p:spPr bwMode="auto">
            <a:xfrm>
              <a:off x="6389688" y="2911475"/>
              <a:ext cx="50323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China</a:t>
              </a:r>
            </a:p>
          </p:txBody>
        </p:sp>
        <p:sp>
          <p:nvSpPr>
            <p:cNvPr id="47642" name="Text Box 554"/>
            <p:cNvSpPr txBox="1">
              <a:spLocks noChangeArrowheads="1"/>
            </p:cNvSpPr>
            <p:nvPr/>
          </p:nvSpPr>
          <p:spPr bwMode="auto">
            <a:xfrm>
              <a:off x="4733925" y="3752850"/>
              <a:ext cx="57626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Ethiopia</a:t>
              </a:r>
            </a:p>
          </p:txBody>
        </p:sp>
        <p:sp>
          <p:nvSpPr>
            <p:cNvPr id="47643" name="Text Box 555"/>
            <p:cNvSpPr txBox="1">
              <a:spLocks noChangeArrowheads="1"/>
            </p:cNvSpPr>
            <p:nvPr/>
          </p:nvSpPr>
          <p:spPr bwMode="auto">
            <a:xfrm>
              <a:off x="3662363" y="3695700"/>
              <a:ext cx="576262"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Ghana</a:t>
              </a:r>
            </a:p>
          </p:txBody>
        </p:sp>
        <p:sp>
          <p:nvSpPr>
            <p:cNvPr id="47644" name="Text Box 556"/>
            <p:cNvSpPr txBox="1">
              <a:spLocks noChangeArrowheads="1"/>
            </p:cNvSpPr>
            <p:nvPr/>
          </p:nvSpPr>
          <p:spPr bwMode="auto">
            <a:xfrm>
              <a:off x="5741988" y="3394075"/>
              <a:ext cx="50323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India</a:t>
              </a:r>
            </a:p>
          </p:txBody>
        </p:sp>
        <p:sp>
          <p:nvSpPr>
            <p:cNvPr id="47645" name="Text Box 557"/>
            <p:cNvSpPr txBox="1">
              <a:spLocks noChangeArrowheads="1"/>
            </p:cNvSpPr>
            <p:nvPr/>
          </p:nvSpPr>
          <p:spPr bwMode="auto">
            <a:xfrm>
              <a:off x="4805363" y="5265738"/>
              <a:ext cx="576262"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Lesotho</a:t>
              </a:r>
            </a:p>
          </p:txBody>
        </p:sp>
        <p:sp>
          <p:nvSpPr>
            <p:cNvPr id="47646" name="Line 558"/>
            <p:cNvSpPr>
              <a:spLocks noChangeShapeType="1"/>
            </p:cNvSpPr>
            <p:nvPr/>
          </p:nvSpPr>
          <p:spPr bwMode="auto">
            <a:xfrm>
              <a:off x="4733925" y="5121275"/>
              <a:ext cx="142875" cy="1444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47" name="Text Box 559"/>
            <p:cNvSpPr txBox="1">
              <a:spLocks noChangeArrowheads="1"/>
            </p:cNvSpPr>
            <p:nvPr/>
          </p:nvSpPr>
          <p:spPr bwMode="auto">
            <a:xfrm>
              <a:off x="5813425" y="2879725"/>
              <a:ext cx="57626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Nepal</a:t>
              </a:r>
            </a:p>
          </p:txBody>
        </p:sp>
        <p:sp>
          <p:nvSpPr>
            <p:cNvPr id="47648" name="Text Box 560"/>
            <p:cNvSpPr txBox="1">
              <a:spLocks noChangeArrowheads="1"/>
            </p:cNvSpPr>
            <p:nvPr/>
          </p:nvSpPr>
          <p:spPr bwMode="auto">
            <a:xfrm>
              <a:off x="4373563" y="3032125"/>
              <a:ext cx="6477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Palestine</a:t>
              </a:r>
            </a:p>
          </p:txBody>
        </p:sp>
        <p:sp>
          <p:nvSpPr>
            <p:cNvPr id="47649" name="Text Box 561"/>
            <p:cNvSpPr txBox="1">
              <a:spLocks noChangeArrowheads="1"/>
            </p:cNvSpPr>
            <p:nvPr/>
          </p:nvSpPr>
          <p:spPr bwMode="auto">
            <a:xfrm>
              <a:off x="5237163" y="2967038"/>
              <a:ext cx="64928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Pakistan</a:t>
              </a:r>
            </a:p>
          </p:txBody>
        </p:sp>
        <p:sp>
          <p:nvSpPr>
            <p:cNvPr id="47650" name="Text Box 562"/>
            <p:cNvSpPr txBox="1">
              <a:spLocks noChangeArrowheads="1"/>
            </p:cNvSpPr>
            <p:nvPr/>
          </p:nvSpPr>
          <p:spPr bwMode="auto">
            <a:xfrm>
              <a:off x="4195763" y="5140325"/>
              <a:ext cx="72072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South Africa</a:t>
              </a:r>
            </a:p>
          </p:txBody>
        </p:sp>
        <p:sp>
          <p:nvSpPr>
            <p:cNvPr id="47651" name="Text Box 563"/>
            <p:cNvSpPr txBox="1">
              <a:spLocks noChangeArrowheads="1"/>
            </p:cNvSpPr>
            <p:nvPr/>
          </p:nvSpPr>
          <p:spPr bwMode="auto">
            <a:xfrm>
              <a:off x="4708525" y="3902075"/>
              <a:ext cx="64928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Tanzania</a:t>
              </a:r>
            </a:p>
          </p:txBody>
        </p:sp>
        <p:sp>
          <p:nvSpPr>
            <p:cNvPr id="47652" name="Text Box 564"/>
            <p:cNvSpPr txBox="1">
              <a:spLocks noChangeArrowheads="1"/>
            </p:cNvSpPr>
            <p:nvPr/>
          </p:nvSpPr>
          <p:spPr bwMode="auto">
            <a:xfrm>
              <a:off x="3797300" y="2384425"/>
              <a:ext cx="4318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UK</a:t>
              </a:r>
            </a:p>
          </p:txBody>
        </p:sp>
        <p:sp>
          <p:nvSpPr>
            <p:cNvPr id="47653" name="Text Box 565"/>
            <p:cNvSpPr txBox="1">
              <a:spLocks noChangeArrowheads="1"/>
            </p:cNvSpPr>
            <p:nvPr/>
          </p:nvSpPr>
          <p:spPr bwMode="auto">
            <a:xfrm>
              <a:off x="4445000" y="4718050"/>
              <a:ext cx="7207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Zimbabwe</a:t>
              </a:r>
            </a:p>
          </p:txBody>
        </p:sp>
        <p:sp>
          <p:nvSpPr>
            <p:cNvPr id="47654" name="Text Box 566"/>
            <p:cNvSpPr txBox="1">
              <a:spLocks noChangeArrowheads="1"/>
            </p:cNvSpPr>
            <p:nvPr/>
          </p:nvSpPr>
          <p:spPr bwMode="auto">
            <a:xfrm>
              <a:off x="4502150" y="4408488"/>
              <a:ext cx="576263"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Zambia</a:t>
              </a:r>
            </a:p>
          </p:txBody>
        </p:sp>
        <p:sp>
          <p:nvSpPr>
            <p:cNvPr id="47655" name="Text Box 570"/>
            <p:cNvSpPr txBox="1">
              <a:spLocks noChangeArrowheads="1"/>
            </p:cNvSpPr>
            <p:nvPr/>
          </p:nvSpPr>
          <p:spPr bwMode="auto">
            <a:xfrm>
              <a:off x="3351213" y="4178300"/>
              <a:ext cx="5048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Liberia</a:t>
              </a:r>
            </a:p>
          </p:txBody>
        </p:sp>
        <p:sp>
          <p:nvSpPr>
            <p:cNvPr id="47656" name="Line 571"/>
            <p:cNvSpPr>
              <a:spLocks noChangeShapeType="1"/>
            </p:cNvSpPr>
            <p:nvPr/>
          </p:nvSpPr>
          <p:spPr bwMode="auto">
            <a:xfrm flipV="1">
              <a:off x="3719513" y="3944938"/>
              <a:ext cx="71437" cy="2889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57" name="Text Box 572"/>
            <p:cNvSpPr txBox="1">
              <a:spLocks noChangeArrowheads="1"/>
            </p:cNvSpPr>
            <p:nvPr/>
          </p:nvSpPr>
          <p:spPr bwMode="auto">
            <a:xfrm>
              <a:off x="3089275" y="3887788"/>
              <a:ext cx="649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Sierra Leone</a:t>
              </a:r>
            </a:p>
          </p:txBody>
        </p:sp>
        <p:sp>
          <p:nvSpPr>
            <p:cNvPr id="47658" name="Line 573"/>
            <p:cNvSpPr>
              <a:spLocks noChangeShapeType="1"/>
            </p:cNvSpPr>
            <p:nvPr/>
          </p:nvSpPr>
          <p:spPr bwMode="auto">
            <a:xfrm flipV="1">
              <a:off x="3516313" y="3921125"/>
              <a:ext cx="215900" cy="1444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59" name="Text Box 574"/>
            <p:cNvSpPr txBox="1">
              <a:spLocks noChangeArrowheads="1"/>
            </p:cNvSpPr>
            <p:nvPr/>
          </p:nvSpPr>
          <p:spPr bwMode="auto">
            <a:xfrm>
              <a:off x="4516438" y="3392488"/>
              <a:ext cx="649287" cy="45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Sudan &amp; South Sudan</a:t>
              </a:r>
            </a:p>
          </p:txBody>
        </p:sp>
        <p:sp>
          <p:nvSpPr>
            <p:cNvPr id="47660" name="Text Box 576"/>
            <p:cNvSpPr txBox="1">
              <a:spLocks noChangeArrowheads="1"/>
            </p:cNvSpPr>
            <p:nvPr/>
          </p:nvSpPr>
          <p:spPr bwMode="auto">
            <a:xfrm>
              <a:off x="6535738" y="3763963"/>
              <a:ext cx="649287"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Cambodia</a:t>
              </a:r>
            </a:p>
          </p:txBody>
        </p:sp>
        <p:sp>
          <p:nvSpPr>
            <p:cNvPr id="47661" name="Text Box 577"/>
            <p:cNvSpPr txBox="1">
              <a:spLocks noChangeArrowheads="1"/>
            </p:cNvSpPr>
            <p:nvPr/>
          </p:nvSpPr>
          <p:spPr bwMode="auto">
            <a:xfrm>
              <a:off x="4318000" y="4000500"/>
              <a:ext cx="6477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50000"/>
                </a:spcBef>
                <a:buFontTx/>
                <a:buNone/>
              </a:pPr>
              <a:r>
                <a:rPr lang="en-GB" altLang="en-US" sz="800">
                  <a:solidFill>
                    <a:srgbClr val="000000"/>
                  </a:solidFill>
                </a:rPr>
                <a:t>DR Congo</a:t>
              </a:r>
            </a:p>
          </p:txBody>
        </p:sp>
        <p:sp>
          <p:nvSpPr>
            <p:cNvPr id="47662" name="Text Box 578"/>
            <p:cNvSpPr txBox="1">
              <a:spLocks noChangeArrowheads="1"/>
            </p:cNvSpPr>
            <p:nvPr/>
          </p:nvSpPr>
          <p:spPr bwMode="auto">
            <a:xfrm>
              <a:off x="6878638" y="4164013"/>
              <a:ext cx="647700"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Indonesia</a:t>
              </a:r>
            </a:p>
          </p:txBody>
        </p:sp>
        <p:cxnSp>
          <p:nvCxnSpPr>
            <p:cNvPr id="47663" name="AutoShape 583"/>
            <p:cNvCxnSpPr>
              <a:cxnSpLocks noChangeShapeType="1"/>
            </p:cNvCxnSpPr>
            <p:nvPr/>
          </p:nvCxnSpPr>
          <p:spPr bwMode="auto">
            <a:xfrm>
              <a:off x="4876800" y="4113213"/>
              <a:ext cx="360363" cy="155575"/>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664" name="Rectangle 584"/>
            <p:cNvSpPr>
              <a:spLocks noChangeArrowheads="1"/>
            </p:cNvSpPr>
            <p:nvPr/>
          </p:nvSpPr>
          <p:spPr bwMode="auto">
            <a:xfrm>
              <a:off x="5237163" y="4184650"/>
              <a:ext cx="4318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FontTx/>
                <a:buNone/>
              </a:pPr>
              <a:r>
                <a:rPr lang="en-GB" altLang="en-US" sz="800">
                  <a:solidFill>
                    <a:srgbClr val="000000"/>
                  </a:solidFill>
                </a:rPr>
                <a:t>Uganda</a:t>
              </a:r>
            </a:p>
          </p:txBody>
        </p:sp>
        <p:sp>
          <p:nvSpPr>
            <p:cNvPr id="47665" name="Line 585"/>
            <p:cNvSpPr>
              <a:spLocks noChangeShapeType="1"/>
            </p:cNvSpPr>
            <p:nvPr/>
          </p:nvSpPr>
          <p:spPr bwMode="auto">
            <a:xfrm>
              <a:off x="5021263" y="4113213"/>
              <a:ext cx="431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66" name="Text Box 586"/>
            <p:cNvSpPr txBox="1">
              <a:spLocks noChangeArrowheads="1"/>
            </p:cNvSpPr>
            <p:nvPr/>
          </p:nvSpPr>
          <p:spPr bwMode="auto">
            <a:xfrm>
              <a:off x="5381625" y="3968750"/>
              <a:ext cx="5032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Kenya</a:t>
              </a:r>
            </a:p>
          </p:txBody>
        </p:sp>
        <p:sp>
          <p:nvSpPr>
            <p:cNvPr id="47667" name="Line 587"/>
            <p:cNvSpPr>
              <a:spLocks noChangeShapeType="1"/>
            </p:cNvSpPr>
            <p:nvPr/>
          </p:nvSpPr>
          <p:spPr bwMode="auto">
            <a:xfrm flipV="1">
              <a:off x="4876800" y="4545013"/>
              <a:ext cx="360363" cy="7143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68" name="Text Box 588"/>
            <p:cNvSpPr txBox="1">
              <a:spLocks noChangeArrowheads="1"/>
            </p:cNvSpPr>
            <p:nvPr/>
          </p:nvSpPr>
          <p:spPr bwMode="auto">
            <a:xfrm>
              <a:off x="5165725" y="4400550"/>
              <a:ext cx="5048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Malawi</a:t>
              </a:r>
            </a:p>
          </p:txBody>
        </p:sp>
        <p:sp>
          <p:nvSpPr>
            <p:cNvPr id="47669" name="Line 589"/>
            <p:cNvSpPr>
              <a:spLocks noChangeShapeType="1"/>
            </p:cNvSpPr>
            <p:nvPr/>
          </p:nvSpPr>
          <p:spPr bwMode="auto">
            <a:xfrm>
              <a:off x="4949825" y="4689475"/>
              <a:ext cx="431800" cy="14287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70" name="Text Box 590"/>
            <p:cNvSpPr txBox="1">
              <a:spLocks noChangeArrowheads="1"/>
            </p:cNvSpPr>
            <p:nvPr/>
          </p:nvSpPr>
          <p:spPr bwMode="auto">
            <a:xfrm>
              <a:off x="5310188" y="4689475"/>
              <a:ext cx="792162"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Mozambique</a:t>
              </a:r>
            </a:p>
          </p:txBody>
        </p:sp>
        <p:sp>
          <p:nvSpPr>
            <p:cNvPr id="47671" name="Text Box 595"/>
            <p:cNvSpPr txBox="1">
              <a:spLocks noChangeArrowheads="1"/>
            </p:cNvSpPr>
            <p:nvPr/>
          </p:nvSpPr>
          <p:spPr bwMode="auto">
            <a:xfrm>
              <a:off x="3797300" y="4402138"/>
              <a:ext cx="576263"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Rwanda</a:t>
              </a:r>
            </a:p>
          </p:txBody>
        </p:sp>
        <p:sp>
          <p:nvSpPr>
            <p:cNvPr id="47672" name="Line 596"/>
            <p:cNvSpPr>
              <a:spLocks noChangeShapeType="1"/>
            </p:cNvSpPr>
            <p:nvPr/>
          </p:nvSpPr>
          <p:spPr bwMode="auto">
            <a:xfrm flipV="1">
              <a:off x="4229100" y="4257675"/>
              <a:ext cx="503238" cy="2159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73" name="Text Box 597"/>
            <p:cNvSpPr txBox="1">
              <a:spLocks noChangeArrowheads="1"/>
            </p:cNvSpPr>
            <p:nvPr/>
          </p:nvSpPr>
          <p:spPr bwMode="auto">
            <a:xfrm>
              <a:off x="5310188" y="3752850"/>
              <a:ext cx="576262"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Somalia</a:t>
              </a:r>
            </a:p>
          </p:txBody>
        </p:sp>
        <p:sp>
          <p:nvSpPr>
            <p:cNvPr id="47674" name="Line 599"/>
            <p:cNvSpPr>
              <a:spLocks noChangeShapeType="1"/>
            </p:cNvSpPr>
            <p:nvPr/>
          </p:nvSpPr>
          <p:spPr bwMode="auto">
            <a:xfrm flipV="1">
              <a:off x="5165725" y="3897313"/>
              <a:ext cx="215900" cy="1444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75" name="Text Box 600"/>
            <p:cNvSpPr txBox="1">
              <a:spLocks noChangeArrowheads="1"/>
            </p:cNvSpPr>
            <p:nvPr/>
          </p:nvSpPr>
          <p:spPr bwMode="auto">
            <a:xfrm>
              <a:off x="6461125" y="3465513"/>
              <a:ext cx="576263"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Vietnam</a:t>
              </a:r>
            </a:p>
          </p:txBody>
        </p:sp>
        <p:sp>
          <p:nvSpPr>
            <p:cNvPr id="47676" name="Text Box 601"/>
            <p:cNvSpPr txBox="1">
              <a:spLocks noChangeArrowheads="1"/>
            </p:cNvSpPr>
            <p:nvPr/>
          </p:nvSpPr>
          <p:spPr bwMode="auto">
            <a:xfrm>
              <a:off x="5013325" y="3567113"/>
              <a:ext cx="576263"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Yemen</a:t>
              </a:r>
            </a:p>
          </p:txBody>
        </p:sp>
        <p:sp>
          <p:nvSpPr>
            <p:cNvPr id="47677" name="Text Box 603"/>
            <p:cNvSpPr txBox="1">
              <a:spLocks noChangeArrowheads="1"/>
            </p:cNvSpPr>
            <p:nvPr/>
          </p:nvSpPr>
          <p:spPr bwMode="auto">
            <a:xfrm>
              <a:off x="5815013" y="3897313"/>
              <a:ext cx="93503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Bangladesh</a:t>
              </a:r>
            </a:p>
          </p:txBody>
        </p:sp>
        <p:sp>
          <p:nvSpPr>
            <p:cNvPr id="47678" name="Line 604"/>
            <p:cNvSpPr>
              <a:spLocks noChangeShapeType="1"/>
            </p:cNvSpPr>
            <p:nvPr/>
          </p:nvSpPr>
          <p:spPr bwMode="auto">
            <a:xfrm flipV="1">
              <a:off x="6203950" y="3471863"/>
              <a:ext cx="71438" cy="5048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7679" name="Text Box 605"/>
            <p:cNvSpPr txBox="1">
              <a:spLocks noChangeArrowheads="1"/>
            </p:cNvSpPr>
            <p:nvPr/>
          </p:nvSpPr>
          <p:spPr bwMode="auto">
            <a:xfrm>
              <a:off x="4013200" y="3754438"/>
              <a:ext cx="576263"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50000"/>
                </a:spcBef>
                <a:buFontTx/>
                <a:buNone/>
              </a:pPr>
              <a:r>
                <a:rPr lang="en-GB" altLang="en-US" sz="800">
                  <a:solidFill>
                    <a:srgbClr val="000000"/>
                  </a:solidFill>
                </a:rPr>
                <a:t>Nigeria</a:t>
              </a:r>
            </a:p>
          </p:txBody>
        </p:sp>
      </p:grpSp>
      <p:grpSp>
        <p:nvGrpSpPr>
          <p:cNvPr id="576" name="Group 12"/>
          <p:cNvGrpSpPr>
            <a:grpSpLocks/>
          </p:cNvGrpSpPr>
          <p:nvPr/>
        </p:nvGrpSpPr>
        <p:grpSpPr bwMode="auto">
          <a:xfrm>
            <a:off x="179389" y="58739"/>
            <a:ext cx="8964612" cy="865187"/>
            <a:chOff x="113" y="37"/>
            <a:chExt cx="5647" cy="545"/>
          </a:xfrm>
        </p:grpSpPr>
        <p:sp>
          <p:nvSpPr>
            <p:cNvPr id="577" name="Rectangle 8"/>
            <p:cNvSpPr>
              <a:spLocks noChangeArrowheads="1"/>
            </p:cNvSpPr>
            <p:nvPr/>
          </p:nvSpPr>
          <p:spPr bwMode="auto">
            <a:xfrm>
              <a:off x="4172"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78" name="Rectangle 7"/>
            <p:cNvSpPr>
              <a:spLocks noChangeArrowheads="1"/>
            </p:cNvSpPr>
            <p:nvPr/>
          </p:nvSpPr>
          <p:spPr bwMode="auto">
            <a:xfrm>
              <a:off x="113" y="83"/>
              <a:ext cx="1588"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579" name="Picture 9" descr="DFID_280_SML_AW"/>
            <p:cNvPicPr>
              <a:picLocks noChangeAspect="1" noChangeArrowheads="1"/>
            </p:cNvPicPr>
            <p:nvPr/>
          </p:nvPicPr>
          <p:blipFill>
            <a:blip r:embed="rId368">
              <a:extLst>
                <a:ext uri="{28A0092B-C50C-407E-A947-70E740481C1C}">
                  <a14:useLocalDpi xmlns:a14="http://schemas.microsoft.com/office/drawing/2010/main" val="0"/>
                </a:ext>
              </a:extLst>
            </a:blip>
            <a:srcRect/>
            <a:stretch>
              <a:fillRect/>
            </a:stretch>
          </p:blipFill>
          <p:spPr bwMode="auto">
            <a:xfrm>
              <a:off x="158" y="94"/>
              <a:ext cx="590"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0" name="Picture 10" descr="UK-AID-Standard-RGB"/>
            <p:cNvPicPr>
              <a:picLocks noChangeAspect="1" noChangeArrowheads="1"/>
            </p:cNvPicPr>
            <p:nvPr/>
          </p:nvPicPr>
          <p:blipFill>
            <a:blip r:embed="rId369">
              <a:extLst>
                <a:ext uri="{28A0092B-C50C-407E-A947-70E740481C1C}">
                  <a14:useLocalDpi xmlns:a14="http://schemas.microsoft.com/office/drawing/2010/main" val="0"/>
                </a:ext>
              </a:extLst>
            </a:blip>
            <a:srcRect/>
            <a:stretch>
              <a:fillRect/>
            </a:stretch>
          </p:blipFill>
          <p:spPr bwMode="auto">
            <a:xfrm>
              <a:off x="5182" y="37"/>
              <a:ext cx="497"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575098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RptLibraryForm</Display>
  <Edit>RptLibraryForm</Edit>
  <New>RptLibraryForm</New>
</FormTemplates>
</file>

<file path=customXml/item2.xml><?xml version="1.0" encoding="utf-8"?>
<ct:contentTypeSchema xmlns:ct="http://schemas.microsoft.com/office/2006/metadata/contentType" xmlns:ma="http://schemas.microsoft.com/office/2006/metadata/properties/metaAttributes" ct:_="" ma:_="" ma:contentTypeName="Report" ma:contentTypeID="0x01010058DDEB47312E4967BFC1576B96E8C3D400B9DCAD14C4690B489C0E186A65D91380" ma:contentTypeVersion="0" ma:contentTypeDescription="" ma:contentTypeScope="" ma:versionID="59b2f949f84daf6e86083cf3d27a8c84">
  <xsd:schema xmlns:xsd="http://www.w3.org/2001/XMLSchema" xmlns:xs="http://www.w3.org/2001/XMLSchema" xmlns:p="http://schemas.microsoft.com/office/2006/metadata/properties" xmlns:ns1="http://schemas.microsoft.com/sharepoint/v3" targetNamespace="http://schemas.microsoft.com/office/2006/metadata/properties" ma:root="true" ma:fieldsID="da2ee74e0442f4e2b9ae27e4208e26ee" ns1:_="">
    <xsd:import namespace="http://schemas.microsoft.com/sharepoint/v3"/>
    <xsd:element name="properties">
      <xsd:complexType>
        <xsd:sequence>
          <xsd:element name="documentManagement">
            <xsd:complexType>
              <xsd:all>
                <xsd:element ref="ns1:ReportDescription" minOccurs="0"/>
                <xsd:element ref="ns1:ParentId" minOccurs="0"/>
                <xsd:element ref="ns1:ReportOwner" minOccurs="0"/>
                <xsd:element ref="ns1:ReportCategory" minOccurs="0"/>
                <xsd:element ref="ns1:Report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eportDescription" ma:index="8" nillable="true" ma:displayName="Report Description" ma:description="A description of the contents of the report" ma:internalName="ReportDescription">
      <xsd:simpleType>
        <xsd:restriction base="dms:Note">
          <xsd:maxLength value="255"/>
        </xsd:restriction>
      </xsd:simpleType>
    </xsd:element>
    <xsd:element name="ParentId" ma:index="9" nillable="true" ma:displayName="Parent ID" ma:description="The Parent Id of this report" ma:hidden="true" ma:internalName="ParentId">
      <xsd:simpleType>
        <xsd:restriction base="dms:Number"/>
      </xsd:simpleType>
    </xsd:element>
    <xsd:element name="ReportOwner" ma:index="10" nillable="true" ma:displayName="Owner" ma:description="Owner of this document" ma:list="UserInfo" ma:internalName="Report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portCategory" ma:index="11" nillable="true" ma:displayName="Report Category" ma:description="Category of the report" ma:internalName="ReportCategory">
      <xsd:simpleType>
        <xsd:restriction base="dms:Choice">
          <xsd:enumeration value="Category 1"/>
          <xsd:enumeration value="Category 2"/>
          <xsd:enumeration value="Category 3"/>
        </xsd:restriction>
      </xsd:simpleType>
    </xsd:element>
    <xsd:element name="ReportStatus" ma:index="12" nillable="true" ma:displayName="Report Status" ma:description="Status of the report" ma:internalName="ReportStatus">
      <xsd:simpleType>
        <xsd:restriction base="dms:Choice">
          <xsd:enumeration value="Final"/>
          <xsd:enumeration value="Preliminary"/>
          <xsd:enumeration value="Period To Dat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portCategory xmlns="http://schemas.microsoft.com/sharepoint/v3" xsi:nil="true"/>
    <ReportStatus xmlns="http://schemas.microsoft.com/sharepoint/v3" xsi:nil="true"/>
    <ParentId xmlns="http://schemas.microsoft.com/sharepoint/v3" xsi:nil="true"/>
    <ReportDescription xmlns="http://schemas.microsoft.com/sharepoint/v3" xsi:nil="true"/>
    <ReportOwner xmlns="http://schemas.microsoft.com/sharepoint/v3">
      <UserInfo>
        <DisplayName/>
        <AccountId xsi:nil="true"/>
        <AccountType/>
      </UserInfo>
    </ReportOwner>
  </documentManagement>
</p:properties>
</file>

<file path=customXml/itemProps1.xml><?xml version="1.0" encoding="utf-8"?>
<ds:datastoreItem xmlns:ds="http://schemas.openxmlformats.org/officeDocument/2006/customXml" ds:itemID="{B3E2F72B-9853-4A55-9615-BD3E90689143}">
  <ds:schemaRefs>
    <ds:schemaRef ds:uri="http://schemas.microsoft.com/sharepoint/v3/contenttype/forms"/>
  </ds:schemaRefs>
</ds:datastoreItem>
</file>

<file path=customXml/itemProps2.xml><?xml version="1.0" encoding="utf-8"?>
<ds:datastoreItem xmlns:ds="http://schemas.openxmlformats.org/officeDocument/2006/customXml" ds:itemID="{A3868B0D-A7AA-4B11-9309-B683164ED3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2D1467-55D8-473E-B620-A01B9C9D5801}">
  <ds:schemaRefs>
    <ds:schemaRef ds:uri="http://schemas.microsoft.com/sharepoint/v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10</TotalTime>
  <Words>1900</Words>
  <Application>Microsoft Office PowerPoint</Application>
  <PresentationFormat>On-screen Show (4:3)</PresentationFormat>
  <Paragraphs>304</Paragraphs>
  <Slides>30</Slides>
  <Notes>2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0</vt:i4>
      </vt:variant>
    </vt:vector>
  </HeadingPairs>
  <TitlesOfParts>
    <vt:vector size="40" baseType="lpstr">
      <vt:lpstr>ＭＳ Ｐゴシック</vt:lpstr>
      <vt:lpstr>ＭＳ Ｐゴシック</vt:lpstr>
      <vt:lpstr>Arial</vt:lpstr>
      <vt:lpstr>Arial Black</vt:lpstr>
      <vt:lpstr>Calibri</vt:lpstr>
      <vt:lpstr>Helvetica Neue UltraLight</vt:lpstr>
      <vt:lpstr>Times New Roman</vt:lpstr>
      <vt:lpstr>Verdana</vt:lpstr>
      <vt:lpstr>Wingdings</vt:lpstr>
      <vt:lpstr>Office Theme</vt:lpstr>
      <vt:lpstr>Department for International Development </vt:lpstr>
      <vt:lpstr>PowerPoint Presentation</vt:lpstr>
      <vt:lpstr>Contents</vt:lpstr>
      <vt:lpstr>Key Figures</vt:lpstr>
      <vt:lpstr>The Department for International Development (DFID) leads the UK’s work to end extreme poverty around the world. We are: </vt:lpstr>
      <vt:lpstr>Our UK Headquarters</vt:lpstr>
      <vt:lpstr>PowerPoint Presentation</vt:lpstr>
      <vt:lpstr>DFID footprint overview</vt:lpstr>
      <vt:lpstr>PowerPoint Presentation</vt:lpstr>
      <vt:lpstr>PowerPoint Presentation</vt:lpstr>
      <vt:lpstr>Management</vt:lpstr>
      <vt:lpstr>New UK Aid Strategy (1) </vt:lpstr>
      <vt:lpstr>New UK Aid Strategy (2) </vt:lpstr>
      <vt:lpstr>Spending Review</vt:lpstr>
      <vt:lpstr>Results - four years to March 15</vt:lpstr>
      <vt:lpstr>PowerPoint Presentation</vt:lpstr>
      <vt:lpstr>PowerPoint Presentation</vt:lpstr>
      <vt:lpstr>PowerPoint Presentation</vt:lpstr>
      <vt:lpstr>PowerPoint Presentation</vt:lpstr>
      <vt:lpstr>PowerPoint Presentation</vt:lpstr>
      <vt:lpstr>PowerPoint Presentation</vt:lpstr>
      <vt:lpstr>Why does the UK give aid?</vt:lpstr>
      <vt:lpstr>PowerPoint Presentation</vt:lpstr>
      <vt:lpstr>Syrian Civil War</vt:lpstr>
      <vt:lpstr>Areas - Civil War</vt:lpstr>
      <vt:lpstr>Key issues within Syria</vt:lpstr>
      <vt:lpstr>Migration</vt:lpstr>
      <vt:lpstr>Regional Complexities</vt:lpstr>
      <vt:lpstr>UK refugee solution</vt:lpstr>
      <vt:lpstr>International response</vt:lpstr>
    </vt:vector>
  </TitlesOfParts>
  <Company>DFI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McIvor</dc:creator>
  <cp:lastModifiedBy>mhorag macdonald</cp:lastModifiedBy>
  <cp:revision>62</cp:revision>
  <cp:lastPrinted>2015-12-10T17:33:27Z</cp:lastPrinted>
  <dcterms:created xsi:type="dcterms:W3CDTF">2013-10-03T15:39:03Z</dcterms:created>
  <dcterms:modified xsi:type="dcterms:W3CDTF">2016-04-20T11:0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DDEB47312E4967BFC1576B96E8C3D400B9DCAD14C4690B489C0E186A65D91380</vt:lpwstr>
  </property>
</Properties>
</file>